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9" r:id="rId3"/>
    <p:sldId id="258" r:id="rId4"/>
    <p:sldId id="1708" r:id="rId5"/>
    <p:sldId id="1740" r:id="rId6"/>
    <p:sldId id="1713" r:id="rId7"/>
    <p:sldId id="1747" r:id="rId8"/>
    <p:sldId id="1741" r:id="rId9"/>
    <p:sldId id="1717" r:id="rId10"/>
    <p:sldId id="1748" r:id="rId11"/>
    <p:sldId id="1742" r:id="rId12"/>
    <p:sldId id="1710" r:id="rId13"/>
    <p:sldId id="1749" r:id="rId14"/>
    <p:sldId id="1743" r:id="rId15"/>
    <p:sldId id="1746" r:id="rId16"/>
    <p:sldId id="261" r:id="rId17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525" autoAdjust="0"/>
    <p:restoredTop sz="96517" autoAdjust="0"/>
  </p:normalViewPr>
  <p:slideViewPr>
    <p:cSldViewPr snapToGrid="0">
      <p:cViewPr varScale="1">
        <p:scale>
          <a:sx n="89" d="100"/>
          <a:sy n="89" d="100"/>
        </p:scale>
        <p:origin x="350" y="67"/>
      </p:cViewPr>
      <p:guideLst/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4/7/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4/7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/>
              <a:t>www.51pptmoban.com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68168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 dirty="0"/>
              <a:t>www.51pptmoban.com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350590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 dirty="0"/>
              <a:t>www.51pptmoban.com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8518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51PPT</a:t>
            </a:r>
            <a:r>
              <a:rPr lang="zh-CN" altLang="en-US" dirty="0"/>
              <a:t>模板网，幻灯片演示模板及素材免费下载！</a:t>
            </a:r>
          </a:p>
          <a:p>
            <a:r>
              <a:rPr lang="en-US" altLang="zh-CN" dirty="0"/>
              <a:t>51PPT</a:t>
            </a:r>
            <a:r>
              <a:rPr lang="zh-CN" altLang="en-US" dirty="0"/>
              <a:t>模板网 唯一访问网址：</a:t>
            </a:r>
            <a:r>
              <a:rPr lang="en-US" altLang="zh-CN" dirty="0"/>
              <a:t>www.51pptmoban.com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69335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009900" y="4022533"/>
            <a:ext cx="7696460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21769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62593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29E12A44-3A60-4AC5-8FAB-AF4956143372}"/>
              </a:ext>
            </a:extLst>
          </p:cNvPr>
          <p:cNvGrpSpPr/>
          <p:nvPr userDrawn="1"/>
        </p:nvGrpSpPr>
        <p:grpSpPr>
          <a:xfrm>
            <a:off x="219075" y="433388"/>
            <a:ext cx="11760200" cy="5995987"/>
            <a:chOff x="219075" y="433388"/>
            <a:chExt cx="11760200" cy="5995987"/>
          </a:xfrm>
        </p:grpSpPr>
        <p:sp>
          <p:nvSpPr>
            <p:cNvPr id="28" name="Line 6">
              <a:extLst>
                <a:ext uri="{FF2B5EF4-FFF2-40B4-BE49-F238E27FC236}">
                  <a16:creationId xmlns:a16="http://schemas.microsoft.com/office/drawing/2014/main" id="{11861BEF-884E-46BF-A27F-1DFCEE4683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6429375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29" name="Line 7">
              <a:extLst>
                <a:ext uri="{FF2B5EF4-FFF2-40B4-BE49-F238E27FC236}">
                  <a16:creationId xmlns:a16="http://schemas.microsoft.com/office/drawing/2014/main" id="{3A2E6EFD-C83C-4837-910B-01C3BAF399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6000750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0" name="Line 8">
              <a:extLst>
                <a:ext uri="{FF2B5EF4-FFF2-40B4-BE49-F238E27FC236}">
                  <a16:creationId xmlns:a16="http://schemas.microsoft.com/office/drawing/2014/main" id="{1872A8C7-E47A-467E-B07C-973F126A82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557371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1" name="Line 9">
              <a:extLst>
                <a:ext uri="{FF2B5EF4-FFF2-40B4-BE49-F238E27FC236}">
                  <a16:creationId xmlns:a16="http://schemas.microsoft.com/office/drawing/2014/main" id="{D5C55799-359B-4352-9057-F70A0811C8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514508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2" name="Line 10">
              <a:extLst>
                <a:ext uri="{FF2B5EF4-FFF2-40B4-BE49-F238E27FC236}">
                  <a16:creationId xmlns:a16="http://schemas.microsoft.com/office/drawing/2014/main" id="{A52743A2-8E42-4B18-9891-EF00954A76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471646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3" name="Line 17">
              <a:extLst>
                <a:ext uri="{FF2B5EF4-FFF2-40B4-BE49-F238E27FC236}">
                  <a16:creationId xmlns:a16="http://schemas.microsoft.com/office/drawing/2014/main" id="{2133A3B6-EE83-46C1-8B2C-E3B4B0FF62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1717675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4" name="Line 18">
              <a:extLst>
                <a:ext uri="{FF2B5EF4-FFF2-40B4-BE49-F238E27FC236}">
                  <a16:creationId xmlns:a16="http://schemas.microsoft.com/office/drawing/2014/main" id="{CD80AF39-7CEA-4FBB-B8C5-580D481816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129063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5" name="Line 19">
              <a:extLst>
                <a:ext uri="{FF2B5EF4-FFF2-40B4-BE49-F238E27FC236}">
                  <a16:creationId xmlns:a16="http://schemas.microsoft.com/office/drawing/2014/main" id="{9676C849-63A3-4DA9-BAE6-BE58644CC3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86201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36" name="Line 20">
              <a:extLst>
                <a:ext uri="{FF2B5EF4-FFF2-40B4-BE49-F238E27FC236}">
                  <a16:creationId xmlns:a16="http://schemas.microsoft.com/office/drawing/2014/main" id="{9C23740C-D3B5-4E09-A794-3AE471B80A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43338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51" name="文本框 50">
            <a:extLst>
              <a:ext uri="{FF2B5EF4-FFF2-40B4-BE49-F238E27FC236}">
                <a16:creationId xmlns:a16="http://schemas.microsoft.com/office/drawing/2014/main" id="{EBA302B8-FB53-4BEB-B221-8BABDF9AFAF7}"/>
              </a:ext>
            </a:extLst>
          </p:cNvPr>
          <p:cNvSpPr txBox="1"/>
          <p:nvPr userDrawn="1"/>
        </p:nvSpPr>
        <p:spPr>
          <a:xfrm>
            <a:off x="3009900" y="2054304"/>
            <a:ext cx="7156446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3800" dirty="0">
                <a:latin typeface="Impact" panose="020B0806030902050204" pitchFamily="34" charset="0"/>
              </a:rPr>
              <a:t>BUSINESS</a:t>
            </a:r>
            <a:endParaRPr lang="zh-CN" altLang="en-US" sz="13800" dirty="0">
              <a:latin typeface="Impact" panose="020B0806030902050204" pitchFamily="34" charset="0"/>
            </a:endParaRPr>
          </a:p>
        </p:txBody>
      </p:sp>
      <p:sp>
        <p:nvSpPr>
          <p:cNvPr id="52" name="任意多边形 4">
            <a:extLst>
              <a:ext uri="{FF2B5EF4-FFF2-40B4-BE49-F238E27FC236}">
                <a16:creationId xmlns:a16="http://schemas.microsoft.com/office/drawing/2014/main" id="{7A87265A-7191-4121-9523-A3BD5D105FBE}"/>
              </a:ext>
            </a:extLst>
          </p:cNvPr>
          <p:cNvSpPr/>
          <p:nvPr userDrawn="1"/>
        </p:nvSpPr>
        <p:spPr>
          <a:xfrm>
            <a:off x="-15766" y="1671072"/>
            <a:ext cx="12207766" cy="2453896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747532" h="2453896">
                <a:moveTo>
                  <a:pt x="0" y="1166722"/>
                </a:moveTo>
                <a:cubicBezTo>
                  <a:pt x="425669" y="1856463"/>
                  <a:pt x="851338" y="2546205"/>
                  <a:pt x="1182414" y="2443729"/>
                </a:cubicBezTo>
                <a:cubicBezTo>
                  <a:pt x="1513490" y="2341253"/>
                  <a:pt x="1621222" y="762074"/>
                  <a:pt x="1986456" y="551867"/>
                </a:cubicBezTo>
                <a:cubicBezTo>
                  <a:pt x="2351690" y="341660"/>
                  <a:pt x="2974428" y="1087895"/>
                  <a:pt x="3373821" y="1182488"/>
                </a:cubicBezTo>
                <a:cubicBezTo>
                  <a:pt x="3773214" y="1277081"/>
                  <a:pt x="4209394" y="1056364"/>
                  <a:pt x="4382814" y="1119426"/>
                </a:cubicBezTo>
                <a:cubicBezTo>
                  <a:pt x="4556234" y="1182488"/>
                  <a:pt x="4367048" y="1487288"/>
                  <a:pt x="4414345" y="1560860"/>
                </a:cubicBezTo>
                <a:cubicBezTo>
                  <a:pt x="4461642" y="1634432"/>
                  <a:pt x="4627180" y="1637060"/>
                  <a:pt x="4666594" y="1560860"/>
                </a:cubicBezTo>
                <a:cubicBezTo>
                  <a:pt x="4706008" y="1484660"/>
                  <a:pt x="4549012" y="1257354"/>
                  <a:pt x="4650828" y="1103660"/>
                </a:cubicBezTo>
                <a:cubicBezTo>
                  <a:pt x="4752644" y="949966"/>
                  <a:pt x="5124489" y="629665"/>
                  <a:pt x="5277491" y="638697"/>
                </a:cubicBezTo>
                <a:cubicBezTo>
                  <a:pt x="5430493" y="647729"/>
                  <a:pt x="5553394" y="834369"/>
                  <a:pt x="5568841" y="1157853"/>
                </a:cubicBezTo>
                <a:cubicBezTo>
                  <a:pt x="5577938" y="1357512"/>
                  <a:pt x="5535589" y="2029371"/>
                  <a:pt x="5925796" y="2112874"/>
                </a:cubicBezTo>
                <a:cubicBezTo>
                  <a:pt x="6316003" y="2196377"/>
                  <a:pt x="6578860" y="1545080"/>
                  <a:pt x="6721366" y="1338829"/>
                </a:cubicBezTo>
                <a:cubicBezTo>
                  <a:pt x="6841012" y="1124958"/>
                  <a:pt x="7126890" y="685155"/>
                  <a:pt x="7330966" y="651215"/>
                </a:cubicBezTo>
                <a:cubicBezTo>
                  <a:pt x="7535042" y="617275"/>
                  <a:pt x="7740869" y="1044018"/>
                  <a:pt x="7945821" y="1135191"/>
                </a:cubicBezTo>
                <a:cubicBezTo>
                  <a:pt x="8150773" y="1226364"/>
                  <a:pt x="8418786" y="1305984"/>
                  <a:pt x="8560676" y="1198253"/>
                </a:cubicBezTo>
                <a:cubicBezTo>
                  <a:pt x="8702566" y="1090522"/>
                  <a:pt x="8699938" y="604419"/>
                  <a:pt x="8797159" y="488805"/>
                </a:cubicBezTo>
                <a:cubicBezTo>
                  <a:pt x="8894380" y="373191"/>
                  <a:pt x="9057290" y="381074"/>
                  <a:pt x="9144000" y="504570"/>
                </a:cubicBezTo>
                <a:cubicBezTo>
                  <a:pt x="9230710" y="628066"/>
                  <a:pt x="9115097" y="1124681"/>
                  <a:pt x="9317421" y="1229784"/>
                </a:cubicBezTo>
                <a:cubicBezTo>
                  <a:pt x="9519745" y="1334887"/>
                  <a:pt x="10047890" y="1303357"/>
                  <a:pt x="10357945" y="1135191"/>
                </a:cubicBezTo>
                <a:cubicBezTo>
                  <a:pt x="10668000" y="967025"/>
                  <a:pt x="11106041" y="406583"/>
                  <a:pt x="11177752" y="220791"/>
                </a:cubicBezTo>
                <a:cubicBezTo>
                  <a:pt x="11249463" y="34999"/>
                  <a:pt x="10920468" y="1826"/>
                  <a:pt x="10788213" y="20438"/>
                </a:cubicBezTo>
                <a:cubicBezTo>
                  <a:pt x="10655958" y="39050"/>
                  <a:pt x="10491405" y="144043"/>
                  <a:pt x="10384221" y="332463"/>
                </a:cubicBezTo>
                <a:cubicBezTo>
                  <a:pt x="10277037" y="520883"/>
                  <a:pt x="10270359" y="1206355"/>
                  <a:pt x="10830911" y="1150957"/>
                </a:cubicBezTo>
                <a:cubicBezTo>
                  <a:pt x="11391463" y="1095559"/>
                  <a:pt x="13405946" y="-10436"/>
                  <a:pt x="13747532" y="74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03B45F1C-0542-4778-9268-B876995F3BC3}"/>
              </a:ext>
            </a:extLst>
          </p:cNvPr>
          <p:cNvSpPr/>
          <p:nvPr userDrawn="1"/>
        </p:nvSpPr>
        <p:spPr>
          <a:xfrm>
            <a:off x="3171825" y="2593220"/>
            <a:ext cx="352425" cy="6096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CB527BD1-DB85-4596-9E6D-08EC75040E75}"/>
              </a:ext>
            </a:extLst>
          </p:cNvPr>
          <p:cNvSpPr/>
          <p:nvPr userDrawn="1"/>
        </p:nvSpPr>
        <p:spPr>
          <a:xfrm>
            <a:off x="6000750" y="2457450"/>
            <a:ext cx="352425" cy="1384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30E5393C-D1B8-407D-81C0-1C87FBCF9EA9}"/>
              </a:ext>
            </a:extLst>
          </p:cNvPr>
          <p:cNvSpPr/>
          <p:nvPr userDrawn="1"/>
        </p:nvSpPr>
        <p:spPr>
          <a:xfrm>
            <a:off x="7461250" y="2457450"/>
            <a:ext cx="352425" cy="1384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Line 6">
            <a:extLst>
              <a:ext uri="{FF2B5EF4-FFF2-40B4-BE49-F238E27FC236}">
                <a16:creationId xmlns:a16="http://schemas.microsoft.com/office/drawing/2014/main" id="{06BDAE81-7E48-4813-B4AE-1259486E27B8}"/>
              </a:ext>
            </a:extLst>
          </p:cNvPr>
          <p:cNvSpPr>
            <a:spLocks noChangeShapeType="1"/>
          </p:cNvSpPr>
          <p:nvPr/>
        </p:nvSpPr>
        <p:spPr bwMode="auto">
          <a:xfrm>
            <a:off x="219075" y="6429375"/>
            <a:ext cx="11760200" cy="0"/>
          </a:xfrm>
          <a:prstGeom prst="line">
            <a:avLst/>
          </a:prstGeom>
          <a:noFill/>
          <a:ln w="4763" cap="flat">
            <a:solidFill>
              <a:srgbClr val="4276AA">
                <a:lumMod val="20000"/>
                <a:lumOff val="80000"/>
              </a:srgb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13" name="Line 7">
            <a:extLst>
              <a:ext uri="{FF2B5EF4-FFF2-40B4-BE49-F238E27FC236}">
                <a16:creationId xmlns:a16="http://schemas.microsoft.com/office/drawing/2014/main" id="{7356E9F8-30D1-42C5-A720-F8BA979E01A7}"/>
              </a:ext>
            </a:extLst>
          </p:cNvPr>
          <p:cNvSpPr>
            <a:spLocks noChangeShapeType="1"/>
          </p:cNvSpPr>
          <p:nvPr/>
        </p:nvSpPr>
        <p:spPr bwMode="auto">
          <a:xfrm>
            <a:off x="219075" y="6000750"/>
            <a:ext cx="11760200" cy="0"/>
          </a:xfrm>
          <a:prstGeom prst="line">
            <a:avLst/>
          </a:prstGeom>
          <a:noFill/>
          <a:ln w="4763" cap="flat">
            <a:solidFill>
              <a:srgbClr val="4276AA">
                <a:lumMod val="20000"/>
                <a:lumOff val="80000"/>
              </a:srgb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C6FE6ED2-8842-4A94-B0D1-7DEDF0E816F0}"/>
              </a:ext>
            </a:extLst>
          </p:cNvPr>
          <p:cNvSpPr>
            <a:spLocks noChangeShapeType="1"/>
          </p:cNvSpPr>
          <p:nvPr/>
        </p:nvSpPr>
        <p:spPr bwMode="auto">
          <a:xfrm>
            <a:off x="219075" y="5573713"/>
            <a:ext cx="11760200" cy="0"/>
          </a:xfrm>
          <a:prstGeom prst="line">
            <a:avLst/>
          </a:prstGeom>
          <a:noFill/>
          <a:ln w="4763" cap="flat">
            <a:solidFill>
              <a:srgbClr val="4276AA">
                <a:lumMod val="20000"/>
                <a:lumOff val="80000"/>
              </a:srgb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</a:endParaRPr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957414" y="4027317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958530" y="4922667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任意多边形 4">
            <a:extLst>
              <a:ext uri="{FF2B5EF4-FFF2-40B4-BE49-F238E27FC236}">
                <a16:creationId xmlns:a16="http://schemas.microsoft.com/office/drawing/2014/main" id="{93CB75B0-2FF6-49E3-A432-5033C73EE536}"/>
              </a:ext>
            </a:extLst>
          </p:cNvPr>
          <p:cNvSpPr/>
          <p:nvPr userDrawn="1"/>
        </p:nvSpPr>
        <p:spPr>
          <a:xfrm flipV="1">
            <a:off x="0" y="1769345"/>
            <a:ext cx="12207766" cy="2453896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747532" h="2453896">
                <a:moveTo>
                  <a:pt x="0" y="1166722"/>
                </a:moveTo>
                <a:cubicBezTo>
                  <a:pt x="425669" y="1856463"/>
                  <a:pt x="851338" y="2546205"/>
                  <a:pt x="1182414" y="2443729"/>
                </a:cubicBezTo>
                <a:cubicBezTo>
                  <a:pt x="1513490" y="2341253"/>
                  <a:pt x="1621222" y="762074"/>
                  <a:pt x="1986456" y="551867"/>
                </a:cubicBezTo>
                <a:cubicBezTo>
                  <a:pt x="2351690" y="341660"/>
                  <a:pt x="2974428" y="1087895"/>
                  <a:pt x="3373821" y="1182488"/>
                </a:cubicBezTo>
                <a:cubicBezTo>
                  <a:pt x="3773214" y="1277081"/>
                  <a:pt x="4209394" y="1056364"/>
                  <a:pt x="4382814" y="1119426"/>
                </a:cubicBezTo>
                <a:cubicBezTo>
                  <a:pt x="4556234" y="1182488"/>
                  <a:pt x="4367048" y="1487288"/>
                  <a:pt x="4414345" y="1560860"/>
                </a:cubicBezTo>
                <a:cubicBezTo>
                  <a:pt x="4461642" y="1634432"/>
                  <a:pt x="4627180" y="1637060"/>
                  <a:pt x="4666594" y="1560860"/>
                </a:cubicBezTo>
                <a:cubicBezTo>
                  <a:pt x="4706008" y="1484660"/>
                  <a:pt x="4549012" y="1257354"/>
                  <a:pt x="4650828" y="1103660"/>
                </a:cubicBezTo>
                <a:cubicBezTo>
                  <a:pt x="4752644" y="949966"/>
                  <a:pt x="5124489" y="629665"/>
                  <a:pt x="5277491" y="638697"/>
                </a:cubicBezTo>
                <a:cubicBezTo>
                  <a:pt x="5430493" y="647729"/>
                  <a:pt x="5553394" y="834369"/>
                  <a:pt x="5568841" y="1157853"/>
                </a:cubicBezTo>
                <a:cubicBezTo>
                  <a:pt x="5577938" y="1357512"/>
                  <a:pt x="5535589" y="2029371"/>
                  <a:pt x="5925796" y="2112874"/>
                </a:cubicBezTo>
                <a:cubicBezTo>
                  <a:pt x="6316003" y="2196377"/>
                  <a:pt x="6578860" y="1545080"/>
                  <a:pt x="6721366" y="1338829"/>
                </a:cubicBezTo>
                <a:cubicBezTo>
                  <a:pt x="6841012" y="1124958"/>
                  <a:pt x="7126890" y="685155"/>
                  <a:pt x="7330966" y="651215"/>
                </a:cubicBezTo>
                <a:cubicBezTo>
                  <a:pt x="7535042" y="617275"/>
                  <a:pt x="7740869" y="1044018"/>
                  <a:pt x="7945821" y="1135191"/>
                </a:cubicBezTo>
                <a:cubicBezTo>
                  <a:pt x="8150773" y="1226364"/>
                  <a:pt x="8418786" y="1305984"/>
                  <a:pt x="8560676" y="1198253"/>
                </a:cubicBezTo>
                <a:cubicBezTo>
                  <a:pt x="8702566" y="1090522"/>
                  <a:pt x="8699938" y="604419"/>
                  <a:pt x="8797159" y="488805"/>
                </a:cubicBezTo>
                <a:cubicBezTo>
                  <a:pt x="8894380" y="373191"/>
                  <a:pt x="9057290" y="381074"/>
                  <a:pt x="9144000" y="504570"/>
                </a:cubicBezTo>
                <a:cubicBezTo>
                  <a:pt x="9230710" y="628066"/>
                  <a:pt x="9115097" y="1124681"/>
                  <a:pt x="9317421" y="1229784"/>
                </a:cubicBezTo>
                <a:cubicBezTo>
                  <a:pt x="9519745" y="1334887"/>
                  <a:pt x="10047890" y="1303357"/>
                  <a:pt x="10357945" y="1135191"/>
                </a:cubicBezTo>
                <a:cubicBezTo>
                  <a:pt x="10668000" y="967025"/>
                  <a:pt x="11106041" y="406583"/>
                  <a:pt x="11177752" y="220791"/>
                </a:cubicBezTo>
                <a:cubicBezTo>
                  <a:pt x="11249463" y="34999"/>
                  <a:pt x="10920468" y="1826"/>
                  <a:pt x="10788213" y="20438"/>
                </a:cubicBezTo>
                <a:cubicBezTo>
                  <a:pt x="10655958" y="39050"/>
                  <a:pt x="10491405" y="144043"/>
                  <a:pt x="10384221" y="332463"/>
                </a:cubicBezTo>
                <a:cubicBezTo>
                  <a:pt x="10277037" y="520883"/>
                  <a:pt x="10270359" y="1206355"/>
                  <a:pt x="10830911" y="1150957"/>
                </a:cubicBezTo>
                <a:cubicBezTo>
                  <a:pt x="11391463" y="1095559"/>
                  <a:pt x="13405946" y="-10436"/>
                  <a:pt x="13747532" y="74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5" name="任意多边形 4">
            <a:extLst>
              <a:ext uri="{FF2B5EF4-FFF2-40B4-BE49-F238E27FC236}">
                <a16:creationId xmlns:a16="http://schemas.microsoft.com/office/drawing/2014/main" id="{2C914AD1-C12E-47DC-A69E-8DE128D6705D}"/>
              </a:ext>
            </a:extLst>
          </p:cNvPr>
          <p:cNvSpPr/>
          <p:nvPr userDrawn="1"/>
        </p:nvSpPr>
        <p:spPr>
          <a:xfrm flipV="1">
            <a:off x="0" y="1096322"/>
            <a:ext cx="12207766" cy="2453896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747532" h="2453896">
                <a:moveTo>
                  <a:pt x="0" y="1166722"/>
                </a:moveTo>
                <a:cubicBezTo>
                  <a:pt x="425669" y="1856463"/>
                  <a:pt x="851338" y="2546205"/>
                  <a:pt x="1182414" y="2443729"/>
                </a:cubicBezTo>
                <a:cubicBezTo>
                  <a:pt x="1513490" y="2341253"/>
                  <a:pt x="1621222" y="762074"/>
                  <a:pt x="1986456" y="551867"/>
                </a:cubicBezTo>
                <a:cubicBezTo>
                  <a:pt x="2351690" y="341660"/>
                  <a:pt x="2974428" y="1087895"/>
                  <a:pt x="3373821" y="1182488"/>
                </a:cubicBezTo>
                <a:cubicBezTo>
                  <a:pt x="3773214" y="1277081"/>
                  <a:pt x="4209394" y="1056364"/>
                  <a:pt x="4382814" y="1119426"/>
                </a:cubicBezTo>
                <a:cubicBezTo>
                  <a:pt x="4556234" y="1182488"/>
                  <a:pt x="4367048" y="1487288"/>
                  <a:pt x="4414345" y="1560860"/>
                </a:cubicBezTo>
                <a:cubicBezTo>
                  <a:pt x="4461642" y="1634432"/>
                  <a:pt x="4627180" y="1637060"/>
                  <a:pt x="4666594" y="1560860"/>
                </a:cubicBezTo>
                <a:cubicBezTo>
                  <a:pt x="4706008" y="1484660"/>
                  <a:pt x="4549012" y="1257354"/>
                  <a:pt x="4650828" y="1103660"/>
                </a:cubicBezTo>
                <a:cubicBezTo>
                  <a:pt x="4752644" y="949966"/>
                  <a:pt x="5124489" y="629665"/>
                  <a:pt x="5277491" y="638697"/>
                </a:cubicBezTo>
                <a:cubicBezTo>
                  <a:pt x="5430493" y="647729"/>
                  <a:pt x="5553394" y="834369"/>
                  <a:pt x="5568841" y="1157853"/>
                </a:cubicBezTo>
                <a:cubicBezTo>
                  <a:pt x="5577938" y="1357512"/>
                  <a:pt x="5535589" y="2029371"/>
                  <a:pt x="5925796" y="2112874"/>
                </a:cubicBezTo>
                <a:cubicBezTo>
                  <a:pt x="6316003" y="2196377"/>
                  <a:pt x="6578860" y="1545080"/>
                  <a:pt x="6721366" y="1338829"/>
                </a:cubicBezTo>
                <a:cubicBezTo>
                  <a:pt x="6841012" y="1124958"/>
                  <a:pt x="7126890" y="685155"/>
                  <a:pt x="7330966" y="651215"/>
                </a:cubicBezTo>
                <a:cubicBezTo>
                  <a:pt x="7535042" y="617275"/>
                  <a:pt x="7740869" y="1044018"/>
                  <a:pt x="7945821" y="1135191"/>
                </a:cubicBezTo>
                <a:cubicBezTo>
                  <a:pt x="8150773" y="1226364"/>
                  <a:pt x="8418786" y="1305984"/>
                  <a:pt x="8560676" y="1198253"/>
                </a:cubicBezTo>
                <a:cubicBezTo>
                  <a:pt x="8702566" y="1090522"/>
                  <a:pt x="8699938" y="604419"/>
                  <a:pt x="8797159" y="488805"/>
                </a:cubicBezTo>
                <a:cubicBezTo>
                  <a:pt x="8894380" y="373191"/>
                  <a:pt x="9057290" y="381074"/>
                  <a:pt x="9144000" y="504570"/>
                </a:cubicBezTo>
                <a:cubicBezTo>
                  <a:pt x="9230710" y="628066"/>
                  <a:pt x="9115097" y="1124681"/>
                  <a:pt x="9317421" y="1229784"/>
                </a:cubicBezTo>
                <a:cubicBezTo>
                  <a:pt x="9519745" y="1334887"/>
                  <a:pt x="10047890" y="1303357"/>
                  <a:pt x="10357945" y="1135191"/>
                </a:cubicBezTo>
                <a:cubicBezTo>
                  <a:pt x="10668000" y="967025"/>
                  <a:pt x="11106041" y="406583"/>
                  <a:pt x="11177752" y="220791"/>
                </a:cubicBezTo>
                <a:cubicBezTo>
                  <a:pt x="11249463" y="34999"/>
                  <a:pt x="10920468" y="1826"/>
                  <a:pt x="10788213" y="20438"/>
                </a:cubicBezTo>
                <a:cubicBezTo>
                  <a:pt x="10655958" y="39050"/>
                  <a:pt x="10491405" y="144043"/>
                  <a:pt x="10384221" y="332463"/>
                </a:cubicBezTo>
                <a:cubicBezTo>
                  <a:pt x="10277037" y="520883"/>
                  <a:pt x="10270359" y="1206355"/>
                  <a:pt x="10830911" y="1150957"/>
                </a:cubicBezTo>
                <a:cubicBezTo>
                  <a:pt x="11391463" y="1095559"/>
                  <a:pt x="13405946" y="-10436"/>
                  <a:pt x="13747532" y="74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6" name="任意多边形 4">
            <a:extLst>
              <a:ext uri="{FF2B5EF4-FFF2-40B4-BE49-F238E27FC236}">
                <a16:creationId xmlns:a16="http://schemas.microsoft.com/office/drawing/2014/main" id="{70C9FC4E-A448-4D48-9356-AC260973E2F0}"/>
              </a:ext>
            </a:extLst>
          </p:cNvPr>
          <p:cNvSpPr/>
          <p:nvPr userDrawn="1"/>
        </p:nvSpPr>
        <p:spPr>
          <a:xfrm flipV="1">
            <a:off x="0" y="423299"/>
            <a:ext cx="12207766" cy="2453896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747532" h="2453896">
                <a:moveTo>
                  <a:pt x="0" y="1166722"/>
                </a:moveTo>
                <a:cubicBezTo>
                  <a:pt x="425669" y="1856463"/>
                  <a:pt x="851338" y="2546205"/>
                  <a:pt x="1182414" y="2443729"/>
                </a:cubicBezTo>
                <a:cubicBezTo>
                  <a:pt x="1513490" y="2341253"/>
                  <a:pt x="1621222" y="762074"/>
                  <a:pt x="1986456" y="551867"/>
                </a:cubicBezTo>
                <a:cubicBezTo>
                  <a:pt x="2351690" y="341660"/>
                  <a:pt x="2974428" y="1087895"/>
                  <a:pt x="3373821" y="1182488"/>
                </a:cubicBezTo>
                <a:cubicBezTo>
                  <a:pt x="3773214" y="1277081"/>
                  <a:pt x="4209394" y="1056364"/>
                  <a:pt x="4382814" y="1119426"/>
                </a:cubicBezTo>
                <a:cubicBezTo>
                  <a:pt x="4556234" y="1182488"/>
                  <a:pt x="4367048" y="1487288"/>
                  <a:pt x="4414345" y="1560860"/>
                </a:cubicBezTo>
                <a:cubicBezTo>
                  <a:pt x="4461642" y="1634432"/>
                  <a:pt x="4627180" y="1637060"/>
                  <a:pt x="4666594" y="1560860"/>
                </a:cubicBezTo>
                <a:cubicBezTo>
                  <a:pt x="4706008" y="1484660"/>
                  <a:pt x="4549012" y="1257354"/>
                  <a:pt x="4650828" y="1103660"/>
                </a:cubicBezTo>
                <a:cubicBezTo>
                  <a:pt x="4752644" y="949966"/>
                  <a:pt x="5124489" y="629665"/>
                  <a:pt x="5277491" y="638697"/>
                </a:cubicBezTo>
                <a:cubicBezTo>
                  <a:pt x="5430493" y="647729"/>
                  <a:pt x="5553394" y="834369"/>
                  <a:pt x="5568841" y="1157853"/>
                </a:cubicBezTo>
                <a:cubicBezTo>
                  <a:pt x="5577938" y="1357512"/>
                  <a:pt x="5535589" y="2029371"/>
                  <a:pt x="5925796" y="2112874"/>
                </a:cubicBezTo>
                <a:cubicBezTo>
                  <a:pt x="6316003" y="2196377"/>
                  <a:pt x="6578860" y="1545080"/>
                  <a:pt x="6721366" y="1338829"/>
                </a:cubicBezTo>
                <a:cubicBezTo>
                  <a:pt x="6841012" y="1124958"/>
                  <a:pt x="7126890" y="685155"/>
                  <a:pt x="7330966" y="651215"/>
                </a:cubicBezTo>
                <a:cubicBezTo>
                  <a:pt x="7535042" y="617275"/>
                  <a:pt x="7740869" y="1044018"/>
                  <a:pt x="7945821" y="1135191"/>
                </a:cubicBezTo>
                <a:cubicBezTo>
                  <a:pt x="8150773" y="1226364"/>
                  <a:pt x="8418786" y="1305984"/>
                  <a:pt x="8560676" y="1198253"/>
                </a:cubicBezTo>
                <a:cubicBezTo>
                  <a:pt x="8702566" y="1090522"/>
                  <a:pt x="8699938" y="604419"/>
                  <a:pt x="8797159" y="488805"/>
                </a:cubicBezTo>
                <a:cubicBezTo>
                  <a:pt x="8894380" y="373191"/>
                  <a:pt x="9057290" y="381074"/>
                  <a:pt x="9144000" y="504570"/>
                </a:cubicBezTo>
                <a:cubicBezTo>
                  <a:pt x="9230710" y="628066"/>
                  <a:pt x="9115097" y="1124681"/>
                  <a:pt x="9317421" y="1229784"/>
                </a:cubicBezTo>
                <a:cubicBezTo>
                  <a:pt x="9519745" y="1334887"/>
                  <a:pt x="10047890" y="1303357"/>
                  <a:pt x="10357945" y="1135191"/>
                </a:cubicBezTo>
                <a:cubicBezTo>
                  <a:pt x="10668000" y="967025"/>
                  <a:pt x="11106041" y="406583"/>
                  <a:pt x="11177752" y="220791"/>
                </a:cubicBezTo>
                <a:cubicBezTo>
                  <a:pt x="11249463" y="34999"/>
                  <a:pt x="10920468" y="1826"/>
                  <a:pt x="10788213" y="20438"/>
                </a:cubicBezTo>
                <a:cubicBezTo>
                  <a:pt x="10655958" y="39050"/>
                  <a:pt x="10491405" y="144043"/>
                  <a:pt x="10384221" y="332463"/>
                </a:cubicBezTo>
                <a:cubicBezTo>
                  <a:pt x="10277037" y="520883"/>
                  <a:pt x="10270359" y="1206355"/>
                  <a:pt x="10830911" y="1150957"/>
                </a:cubicBezTo>
                <a:cubicBezTo>
                  <a:pt x="11391463" y="1095559"/>
                  <a:pt x="13405946" y="-10436"/>
                  <a:pt x="13747532" y="74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7" name="任意多边形 4">
            <a:extLst>
              <a:ext uri="{FF2B5EF4-FFF2-40B4-BE49-F238E27FC236}">
                <a16:creationId xmlns:a16="http://schemas.microsoft.com/office/drawing/2014/main" id="{51AC88FF-1356-4CA3-84F3-D4C52A799C14}"/>
              </a:ext>
            </a:extLst>
          </p:cNvPr>
          <p:cNvSpPr/>
          <p:nvPr userDrawn="1"/>
        </p:nvSpPr>
        <p:spPr>
          <a:xfrm flipV="1">
            <a:off x="0" y="1346046"/>
            <a:ext cx="12207766" cy="2453896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747532" h="2453896">
                <a:moveTo>
                  <a:pt x="0" y="1166722"/>
                </a:moveTo>
                <a:cubicBezTo>
                  <a:pt x="425669" y="1856463"/>
                  <a:pt x="851338" y="2546205"/>
                  <a:pt x="1182414" y="2443729"/>
                </a:cubicBezTo>
                <a:cubicBezTo>
                  <a:pt x="1513490" y="2341253"/>
                  <a:pt x="1621222" y="762074"/>
                  <a:pt x="1986456" y="551867"/>
                </a:cubicBezTo>
                <a:cubicBezTo>
                  <a:pt x="2351690" y="341660"/>
                  <a:pt x="2974428" y="1087895"/>
                  <a:pt x="3373821" y="1182488"/>
                </a:cubicBezTo>
                <a:cubicBezTo>
                  <a:pt x="3773214" y="1277081"/>
                  <a:pt x="4209394" y="1056364"/>
                  <a:pt x="4382814" y="1119426"/>
                </a:cubicBezTo>
                <a:cubicBezTo>
                  <a:pt x="4556234" y="1182488"/>
                  <a:pt x="4367048" y="1487288"/>
                  <a:pt x="4414345" y="1560860"/>
                </a:cubicBezTo>
                <a:cubicBezTo>
                  <a:pt x="4461642" y="1634432"/>
                  <a:pt x="4627180" y="1637060"/>
                  <a:pt x="4666594" y="1560860"/>
                </a:cubicBezTo>
                <a:cubicBezTo>
                  <a:pt x="4706008" y="1484660"/>
                  <a:pt x="4549012" y="1257354"/>
                  <a:pt x="4650828" y="1103660"/>
                </a:cubicBezTo>
                <a:cubicBezTo>
                  <a:pt x="4752644" y="949966"/>
                  <a:pt x="5124489" y="629665"/>
                  <a:pt x="5277491" y="638697"/>
                </a:cubicBezTo>
                <a:cubicBezTo>
                  <a:pt x="5430493" y="647729"/>
                  <a:pt x="5553394" y="834369"/>
                  <a:pt x="5568841" y="1157853"/>
                </a:cubicBezTo>
                <a:cubicBezTo>
                  <a:pt x="5577938" y="1357512"/>
                  <a:pt x="5535589" y="2029371"/>
                  <a:pt x="5925796" y="2112874"/>
                </a:cubicBezTo>
                <a:cubicBezTo>
                  <a:pt x="6316003" y="2196377"/>
                  <a:pt x="6578860" y="1545080"/>
                  <a:pt x="6721366" y="1338829"/>
                </a:cubicBezTo>
                <a:cubicBezTo>
                  <a:pt x="6841012" y="1124958"/>
                  <a:pt x="7126890" y="685155"/>
                  <a:pt x="7330966" y="651215"/>
                </a:cubicBezTo>
                <a:cubicBezTo>
                  <a:pt x="7535042" y="617275"/>
                  <a:pt x="7740869" y="1044018"/>
                  <a:pt x="7945821" y="1135191"/>
                </a:cubicBezTo>
                <a:cubicBezTo>
                  <a:pt x="8150773" y="1226364"/>
                  <a:pt x="8418786" y="1305984"/>
                  <a:pt x="8560676" y="1198253"/>
                </a:cubicBezTo>
                <a:cubicBezTo>
                  <a:pt x="8702566" y="1090522"/>
                  <a:pt x="8699938" y="604419"/>
                  <a:pt x="8797159" y="488805"/>
                </a:cubicBezTo>
                <a:cubicBezTo>
                  <a:pt x="8894380" y="373191"/>
                  <a:pt x="9057290" y="381074"/>
                  <a:pt x="9144000" y="504570"/>
                </a:cubicBezTo>
                <a:cubicBezTo>
                  <a:pt x="9230710" y="628066"/>
                  <a:pt x="9115097" y="1124681"/>
                  <a:pt x="9317421" y="1229784"/>
                </a:cubicBezTo>
                <a:cubicBezTo>
                  <a:pt x="9519745" y="1334887"/>
                  <a:pt x="10047890" y="1303357"/>
                  <a:pt x="10357945" y="1135191"/>
                </a:cubicBezTo>
                <a:cubicBezTo>
                  <a:pt x="10668000" y="967025"/>
                  <a:pt x="11106041" y="406583"/>
                  <a:pt x="11177752" y="220791"/>
                </a:cubicBezTo>
                <a:cubicBezTo>
                  <a:pt x="11249463" y="34999"/>
                  <a:pt x="10920468" y="1826"/>
                  <a:pt x="10788213" y="20438"/>
                </a:cubicBezTo>
                <a:cubicBezTo>
                  <a:pt x="10655958" y="39050"/>
                  <a:pt x="10491405" y="144043"/>
                  <a:pt x="10384221" y="332463"/>
                </a:cubicBezTo>
                <a:cubicBezTo>
                  <a:pt x="10277037" y="520883"/>
                  <a:pt x="10270359" y="1206355"/>
                  <a:pt x="10830911" y="1150957"/>
                </a:cubicBezTo>
                <a:cubicBezTo>
                  <a:pt x="11391463" y="1095559"/>
                  <a:pt x="13405946" y="-10436"/>
                  <a:pt x="13747532" y="74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8" name="任意多边形 4">
            <a:extLst>
              <a:ext uri="{FF2B5EF4-FFF2-40B4-BE49-F238E27FC236}">
                <a16:creationId xmlns:a16="http://schemas.microsoft.com/office/drawing/2014/main" id="{7CCE67DD-4680-48EB-9C3A-EEF5C7EB6581}"/>
              </a:ext>
            </a:extLst>
          </p:cNvPr>
          <p:cNvSpPr/>
          <p:nvPr userDrawn="1"/>
        </p:nvSpPr>
        <p:spPr>
          <a:xfrm flipV="1">
            <a:off x="0" y="673023"/>
            <a:ext cx="12207766" cy="2453896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747532" h="2453896">
                <a:moveTo>
                  <a:pt x="0" y="1166722"/>
                </a:moveTo>
                <a:cubicBezTo>
                  <a:pt x="425669" y="1856463"/>
                  <a:pt x="851338" y="2546205"/>
                  <a:pt x="1182414" y="2443729"/>
                </a:cubicBezTo>
                <a:cubicBezTo>
                  <a:pt x="1513490" y="2341253"/>
                  <a:pt x="1621222" y="762074"/>
                  <a:pt x="1986456" y="551867"/>
                </a:cubicBezTo>
                <a:cubicBezTo>
                  <a:pt x="2351690" y="341660"/>
                  <a:pt x="2974428" y="1087895"/>
                  <a:pt x="3373821" y="1182488"/>
                </a:cubicBezTo>
                <a:cubicBezTo>
                  <a:pt x="3773214" y="1277081"/>
                  <a:pt x="4209394" y="1056364"/>
                  <a:pt x="4382814" y="1119426"/>
                </a:cubicBezTo>
                <a:cubicBezTo>
                  <a:pt x="4556234" y="1182488"/>
                  <a:pt x="4367048" y="1487288"/>
                  <a:pt x="4414345" y="1560860"/>
                </a:cubicBezTo>
                <a:cubicBezTo>
                  <a:pt x="4461642" y="1634432"/>
                  <a:pt x="4627180" y="1637060"/>
                  <a:pt x="4666594" y="1560860"/>
                </a:cubicBezTo>
                <a:cubicBezTo>
                  <a:pt x="4706008" y="1484660"/>
                  <a:pt x="4549012" y="1257354"/>
                  <a:pt x="4650828" y="1103660"/>
                </a:cubicBezTo>
                <a:cubicBezTo>
                  <a:pt x="4752644" y="949966"/>
                  <a:pt x="5124489" y="629665"/>
                  <a:pt x="5277491" y="638697"/>
                </a:cubicBezTo>
                <a:cubicBezTo>
                  <a:pt x="5430493" y="647729"/>
                  <a:pt x="5553394" y="834369"/>
                  <a:pt x="5568841" y="1157853"/>
                </a:cubicBezTo>
                <a:cubicBezTo>
                  <a:pt x="5577938" y="1357512"/>
                  <a:pt x="5535589" y="2029371"/>
                  <a:pt x="5925796" y="2112874"/>
                </a:cubicBezTo>
                <a:cubicBezTo>
                  <a:pt x="6316003" y="2196377"/>
                  <a:pt x="6578860" y="1545080"/>
                  <a:pt x="6721366" y="1338829"/>
                </a:cubicBezTo>
                <a:cubicBezTo>
                  <a:pt x="6841012" y="1124958"/>
                  <a:pt x="7126890" y="685155"/>
                  <a:pt x="7330966" y="651215"/>
                </a:cubicBezTo>
                <a:cubicBezTo>
                  <a:pt x="7535042" y="617275"/>
                  <a:pt x="7740869" y="1044018"/>
                  <a:pt x="7945821" y="1135191"/>
                </a:cubicBezTo>
                <a:cubicBezTo>
                  <a:pt x="8150773" y="1226364"/>
                  <a:pt x="8418786" y="1305984"/>
                  <a:pt x="8560676" y="1198253"/>
                </a:cubicBezTo>
                <a:cubicBezTo>
                  <a:pt x="8702566" y="1090522"/>
                  <a:pt x="8699938" y="604419"/>
                  <a:pt x="8797159" y="488805"/>
                </a:cubicBezTo>
                <a:cubicBezTo>
                  <a:pt x="8894380" y="373191"/>
                  <a:pt x="9057290" y="381074"/>
                  <a:pt x="9144000" y="504570"/>
                </a:cubicBezTo>
                <a:cubicBezTo>
                  <a:pt x="9230710" y="628066"/>
                  <a:pt x="9115097" y="1124681"/>
                  <a:pt x="9317421" y="1229784"/>
                </a:cubicBezTo>
                <a:cubicBezTo>
                  <a:pt x="9519745" y="1334887"/>
                  <a:pt x="10047890" y="1303357"/>
                  <a:pt x="10357945" y="1135191"/>
                </a:cubicBezTo>
                <a:cubicBezTo>
                  <a:pt x="10668000" y="967025"/>
                  <a:pt x="11106041" y="406583"/>
                  <a:pt x="11177752" y="220791"/>
                </a:cubicBezTo>
                <a:cubicBezTo>
                  <a:pt x="11249463" y="34999"/>
                  <a:pt x="10920468" y="1826"/>
                  <a:pt x="10788213" y="20438"/>
                </a:cubicBezTo>
                <a:cubicBezTo>
                  <a:pt x="10655958" y="39050"/>
                  <a:pt x="10491405" y="144043"/>
                  <a:pt x="10384221" y="332463"/>
                </a:cubicBezTo>
                <a:cubicBezTo>
                  <a:pt x="10277037" y="520883"/>
                  <a:pt x="10270359" y="1206355"/>
                  <a:pt x="10830911" y="1150957"/>
                </a:cubicBezTo>
                <a:cubicBezTo>
                  <a:pt x="11391463" y="1095559"/>
                  <a:pt x="13405946" y="-10436"/>
                  <a:pt x="13747532" y="74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9" name="任意多边形 4">
            <a:extLst>
              <a:ext uri="{FF2B5EF4-FFF2-40B4-BE49-F238E27FC236}">
                <a16:creationId xmlns:a16="http://schemas.microsoft.com/office/drawing/2014/main" id="{2642F3D7-C65E-42A7-AEEF-27A5362AB14E}"/>
              </a:ext>
            </a:extLst>
          </p:cNvPr>
          <p:cNvSpPr/>
          <p:nvPr userDrawn="1"/>
        </p:nvSpPr>
        <p:spPr>
          <a:xfrm flipV="1">
            <a:off x="0" y="0"/>
            <a:ext cx="12207766" cy="2453896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747532" h="2453896">
                <a:moveTo>
                  <a:pt x="0" y="1166722"/>
                </a:moveTo>
                <a:cubicBezTo>
                  <a:pt x="425669" y="1856463"/>
                  <a:pt x="851338" y="2546205"/>
                  <a:pt x="1182414" y="2443729"/>
                </a:cubicBezTo>
                <a:cubicBezTo>
                  <a:pt x="1513490" y="2341253"/>
                  <a:pt x="1621222" y="762074"/>
                  <a:pt x="1986456" y="551867"/>
                </a:cubicBezTo>
                <a:cubicBezTo>
                  <a:pt x="2351690" y="341660"/>
                  <a:pt x="2974428" y="1087895"/>
                  <a:pt x="3373821" y="1182488"/>
                </a:cubicBezTo>
                <a:cubicBezTo>
                  <a:pt x="3773214" y="1277081"/>
                  <a:pt x="4209394" y="1056364"/>
                  <a:pt x="4382814" y="1119426"/>
                </a:cubicBezTo>
                <a:cubicBezTo>
                  <a:pt x="4556234" y="1182488"/>
                  <a:pt x="4367048" y="1487288"/>
                  <a:pt x="4414345" y="1560860"/>
                </a:cubicBezTo>
                <a:cubicBezTo>
                  <a:pt x="4461642" y="1634432"/>
                  <a:pt x="4627180" y="1637060"/>
                  <a:pt x="4666594" y="1560860"/>
                </a:cubicBezTo>
                <a:cubicBezTo>
                  <a:pt x="4706008" y="1484660"/>
                  <a:pt x="4549012" y="1257354"/>
                  <a:pt x="4650828" y="1103660"/>
                </a:cubicBezTo>
                <a:cubicBezTo>
                  <a:pt x="4752644" y="949966"/>
                  <a:pt x="5124489" y="629665"/>
                  <a:pt x="5277491" y="638697"/>
                </a:cubicBezTo>
                <a:cubicBezTo>
                  <a:pt x="5430493" y="647729"/>
                  <a:pt x="5553394" y="834369"/>
                  <a:pt x="5568841" y="1157853"/>
                </a:cubicBezTo>
                <a:cubicBezTo>
                  <a:pt x="5577938" y="1357512"/>
                  <a:pt x="5535589" y="2029371"/>
                  <a:pt x="5925796" y="2112874"/>
                </a:cubicBezTo>
                <a:cubicBezTo>
                  <a:pt x="6316003" y="2196377"/>
                  <a:pt x="6578860" y="1545080"/>
                  <a:pt x="6721366" y="1338829"/>
                </a:cubicBezTo>
                <a:cubicBezTo>
                  <a:pt x="6841012" y="1124958"/>
                  <a:pt x="7126890" y="685155"/>
                  <a:pt x="7330966" y="651215"/>
                </a:cubicBezTo>
                <a:cubicBezTo>
                  <a:pt x="7535042" y="617275"/>
                  <a:pt x="7740869" y="1044018"/>
                  <a:pt x="7945821" y="1135191"/>
                </a:cubicBezTo>
                <a:cubicBezTo>
                  <a:pt x="8150773" y="1226364"/>
                  <a:pt x="8418786" y="1305984"/>
                  <a:pt x="8560676" y="1198253"/>
                </a:cubicBezTo>
                <a:cubicBezTo>
                  <a:pt x="8702566" y="1090522"/>
                  <a:pt x="8699938" y="604419"/>
                  <a:pt x="8797159" y="488805"/>
                </a:cubicBezTo>
                <a:cubicBezTo>
                  <a:pt x="8894380" y="373191"/>
                  <a:pt x="9057290" y="381074"/>
                  <a:pt x="9144000" y="504570"/>
                </a:cubicBezTo>
                <a:cubicBezTo>
                  <a:pt x="9230710" y="628066"/>
                  <a:pt x="9115097" y="1124681"/>
                  <a:pt x="9317421" y="1229784"/>
                </a:cubicBezTo>
                <a:cubicBezTo>
                  <a:pt x="9519745" y="1334887"/>
                  <a:pt x="10047890" y="1303357"/>
                  <a:pt x="10357945" y="1135191"/>
                </a:cubicBezTo>
                <a:cubicBezTo>
                  <a:pt x="10668000" y="967025"/>
                  <a:pt x="11106041" y="406583"/>
                  <a:pt x="11177752" y="220791"/>
                </a:cubicBezTo>
                <a:cubicBezTo>
                  <a:pt x="11249463" y="34999"/>
                  <a:pt x="10920468" y="1826"/>
                  <a:pt x="10788213" y="20438"/>
                </a:cubicBezTo>
                <a:cubicBezTo>
                  <a:pt x="10655958" y="39050"/>
                  <a:pt x="10491405" y="144043"/>
                  <a:pt x="10384221" y="332463"/>
                </a:cubicBezTo>
                <a:cubicBezTo>
                  <a:pt x="10277037" y="520883"/>
                  <a:pt x="10270359" y="1206355"/>
                  <a:pt x="10830911" y="1150957"/>
                </a:cubicBezTo>
                <a:cubicBezTo>
                  <a:pt x="11391463" y="1095559"/>
                  <a:pt x="13405946" y="-10436"/>
                  <a:pt x="13747532" y="74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320658" y="1807491"/>
            <a:ext cx="6614042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320658" y="4113727"/>
            <a:ext cx="661404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tx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0660" y="3817456"/>
            <a:ext cx="661404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8024631E-8CFE-47C9-BA25-2219C1B74051}"/>
              </a:ext>
            </a:extLst>
          </p:cNvPr>
          <p:cNvGrpSpPr/>
          <p:nvPr userDrawn="1"/>
        </p:nvGrpSpPr>
        <p:grpSpPr>
          <a:xfrm>
            <a:off x="219075" y="433388"/>
            <a:ext cx="11760200" cy="5995987"/>
            <a:chOff x="219075" y="433388"/>
            <a:chExt cx="11760200" cy="5995987"/>
          </a:xfrm>
        </p:grpSpPr>
        <p:sp>
          <p:nvSpPr>
            <p:cNvPr id="7" name="Line 6">
              <a:extLst>
                <a:ext uri="{FF2B5EF4-FFF2-40B4-BE49-F238E27FC236}">
                  <a16:creationId xmlns:a16="http://schemas.microsoft.com/office/drawing/2014/main" id="{ECECFE80-69F6-43C8-89A5-DB0F812977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6429375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8" name="Line 7">
              <a:extLst>
                <a:ext uri="{FF2B5EF4-FFF2-40B4-BE49-F238E27FC236}">
                  <a16:creationId xmlns:a16="http://schemas.microsoft.com/office/drawing/2014/main" id="{BB80F2A8-5EE6-40BB-8B1A-6A2CAD9A33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6000750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9" name="Line 8">
              <a:extLst>
                <a:ext uri="{FF2B5EF4-FFF2-40B4-BE49-F238E27FC236}">
                  <a16:creationId xmlns:a16="http://schemas.microsoft.com/office/drawing/2014/main" id="{88C451B1-8A04-4949-AD89-24BB4020E8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557371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0" name="Line 9">
              <a:extLst>
                <a:ext uri="{FF2B5EF4-FFF2-40B4-BE49-F238E27FC236}">
                  <a16:creationId xmlns:a16="http://schemas.microsoft.com/office/drawing/2014/main" id="{5FD0F6C4-06F5-42C5-BF04-F9A5F3468B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514508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1" name="Line 10">
              <a:extLst>
                <a:ext uri="{FF2B5EF4-FFF2-40B4-BE49-F238E27FC236}">
                  <a16:creationId xmlns:a16="http://schemas.microsoft.com/office/drawing/2014/main" id="{AC0BF605-7531-4A67-813F-F8E480F5D0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471646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2" name="Line 17">
              <a:extLst>
                <a:ext uri="{FF2B5EF4-FFF2-40B4-BE49-F238E27FC236}">
                  <a16:creationId xmlns:a16="http://schemas.microsoft.com/office/drawing/2014/main" id="{2F6D0A65-400C-4964-8855-DE8621F349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1717675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4" name="Line 18">
              <a:extLst>
                <a:ext uri="{FF2B5EF4-FFF2-40B4-BE49-F238E27FC236}">
                  <a16:creationId xmlns:a16="http://schemas.microsoft.com/office/drawing/2014/main" id="{B708120A-2EFF-480B-8C7B-C9C4D0C491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129063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6" name="Line 19">
              <a:extLst>
                <a:ext uri="{FF2B5EF4-FFF2-40B4-BE49-F238E27FC236}">
                  <a16:creationId xmlns:a16="http://schemas.microsoft.com/office/drawing/2014/main" id="{60F0C250-4D1B-4095-9400-046A11A54A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86201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17" name="Line 20">
              <a:extLst>
                <a:ext uri="{FF2B5EF4-FFF2-40B4-BE49-F238E27FC236}">
                  <a16:creationId xmlns:a16="http://schemas.microsoft.com/office/drawing/2014/main" id="{A210836D-7E1E-49FB-9A34-89E6F9944D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43338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18" name="文本框 17">
            <a:extLst>
              <a:ext uri="{FF2B5EF4-FFF2-40B4-BE49-F238E27FC236}">
                <a16:creationId xmlns:a16="http://schemas.microsoft.com/office/drawing/2014/main" id="{C1AEB3F4-C0CB-4F18-ABA5-BF1F00B69F87}"/>
              </a:ext>
            </a:extLst>
          </p:cNvPr>
          <p:cNvSpPr txBox="1"/>
          <p:nvPr userDrawn="1"/>
        </p:nvSpPr>
        <p:spPr>
          <a:xfrm rot="5400000">
            <a:off x="-2010601" y="827798"/>
            <a:ext cx="7156446" cy="511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3800" dirty="0">
                <a:latin typeface="Impact" panose="020B0806030902050204" pitchFamily="34" charset="0"/>
              </a:rPr>
              <a:t>BUSINESS</a:t>
            </a:r>
            <a:endParaRPr lang="zh-CN" altLang="en-US" sz="13800" dirty="0">
              <a:latin typeface="Impact" panose="020B0806030902050204" pitchFamily="34" charset="0"/>
            </a:endParaRPr>
          </a:p>
        </p:txBody>
      </p:sp>
      <p:sp>
        <p:nvSpPr>
          <p:cNvPr id="19" name="任意多边形 4">
            <a:extLst>
              <a:ext uri="{FF2B5EF4-FFF2-40B4-BE49-F238E27FC236}">
                <a16:creationId xmlns:a16="http://schemas.microsoft.com/office/drawing/2014/main" id="{EB09AA7B-3EAE-4D36-8947-3269996822FE}"/>
              </a:ext>
            </a:extLst>
          </p:cNvPr>
          <p:cNvSpPr/>
          <p:nvPr userDrawn="1"/>
        </p:nvSpPr>
        <p:spPr>
          <a:xfrm rot="5400000">
            <a:off x="-712717" y="1167254"/>
            <a:ext cx="6512929" cy="4854047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648 h 2453822"/>
              <a:gd name="connsiteX1" fmla="*/ 1182414 w 13747532"/>
              <a:gd name="connsiteY1" fmla="*/ 2443655 h 2453822"/>
              <a:gd name="connsiteX2" fmla="*/ 1986456 w 13747532"/>
              <a:gd name="connsiteY2" fmla="*/ 551793 h 2453822"/>
              <a:gd name="connsiteX3" fmla="*/ 3373821 w 13747532"/>
              <a:gd name="connsiteY3" fmla="*/ 1182414 h 2453822"/>
              <a:gd name="connsiteX4" fmla="*/ 4382814 w 13747532"/>
              <a:gd name="connsiteY4" fmla="*/ 1119352 h 2453822"/>
              <a:gd name="connsiteX5" fmla="*/ 4414345 w 13747532"/>
              <a:gd name="connsiteY5" fmla="*/ 1560786 h 2453822"/>
              <a:gd name="connsiteX6" fmla="*/ 4666594 w 13747532"/>
              <a:gd name="connsiteY6" fmla="*/ 1560786 h 2453822"/>
              <a:gd name="connsiteX7" fmla="*/ 4650828 w 13747532"/>
              <a:gd name="connsiteY7" fmla="*/ 1103586 h 2453822"/>
              <a:gd name="connsiteX8" fmla="*/ 5277491 w 13747532"/>
              <a:gd name="connsiteY8" fmla="*/ 638623 h 2453822"/>
              <a:gd name="connsiteX9" fmla="*/ 5568841 w 13747532"/>
              <a:gd name="connsiteY9" fmla="*/ 1157779 h 2453822"/>
              <a:gd name="connsiteX10" fmla="*/ 5925796 w 13747532"/>
              <a:gd name="connsiteY10" fmla="*/ 2112800 h 2453822"/>
              <a:gd name="connsiteX11" fmla="*/ 6721366 w 13747532"/>
              <a:gd name="connsiteY11" fmla="*/ 1338755 h 2453822"/>
              <a:gd name="connsiteX12" fmla="*/ 7330966 w 13747532"/>
              <a:gd name="connsiteY12" fmla="*/ 651141 h 2453822"/>
              <a:gd name="connsiteX13" fmla="*/ 7945821 w 13747532"/>
              <a:gd name="connsiteY13" fmla="*/ 1135117 h 2453822"/>
              <a:gd name="connsiteX14" fmla="*/ 8560676 w 13747532"/>
              <a:gd name="connsiteY14" fmla="*/ 1198179 h 2453822"/>
              <a:gd name="connsiteX15" fmla="*/ 8797159 w 13747532"/>
              <a:gd name="connsiteY15" fmla="*/ 488731 h 2453822"/>
              <a:gd name="connsiteX16" fmla="*/ 9144000 w 13747532"/>
              <a:gd name="connsiteY16" fmla="*/ 504496 h 2453822"/>
              <a:gd name="connsiteX17" fmla="*/ 9317421 w 13747532"/>
              <a:gd name="connsiteY17" fmla="*/ 1229710 h 2453822"/>
              <a:gd name="connsiteX18" fmla="*/ 10357945 w 13747532"/>
              <a:gd name="connsiteY18" fmla="*/ 1135117 h 2453822"/>
              <a:gd name="connsiteX19" fmla="*/ 11177752 w 13747532"/>
              <a:gd name="connsiteY19" fmla="*/ 220717 h 2453822"/>
              <a:gd name="connsiteX20" fmla="*/ 10788213 w 13747532"/>
              <a:gd name="connsiteY20" fmla="*/ 20364 h 2453822"/>
              <a:gd name="connsiteX21" fmla="*/ 10384221 w 13747532"/>
              <a:gd name="connsiteY21" fmla="*/ 332389 h 2453822"/>
              <a:gd name="connsiteX22" fmla="*/ 10830911 w 13747532"/>
              <a:gd name="connsiteY22" fmla="*/ 1150883 h 2453822"/>
              <a:gd name="connsiteX23" fmla="*/ 11357631 w 13747532"/>
              <a:gd name="connsiteY23" fmla="*/ 994101 h 2453822"/>
              <a:gd name="connsiteX24" fmla="*/ 13747532 w 13747532"/>
              <a:gd name="connsiteY24" fmla="*/ 0 h 2453822"/>
              <a:gd name="connsiteX0" fmla="*/ 0 w 13747535"/>
              <a:gd name="connsiteY0" fmla="*/ 1166648 h 2453822"/>
              <a:gd name="connsiteX1" fmla="*/ 1182414 w 13747535"/>
              <a:gd name="connsiteY1" fmla="*/ 2443655 h 2453822"/>
              <a:gd name="connsiteX2" fmla="*/ 1986456 w 13747535"/>
              <a:gd name="connsiteY2" fmla="*/ 551793 h 2453822"/>
              <a:gd name="connsiteX3" fmla="*/ 3373821 w 13747535"/>
              <a:gd name="connsiteY3" fmla="*/ 1182414 h 2453822"/>
              <a:gd name="connsiteX4" fmla="*/ 4382814 w 13747535"/>
              <a:gd name="connsiteY4" fmla="*/ 1119352 h 2453822"/>
              <a:gd name="connsiteX5" fmla="*/ 4414345 w 13747535"/>
              <a:gd name="connsiteY5" fmla="*/ 1560786 h 2453822"/>
              <a:gd name="connsiteX6" fmla="*/ 4666594 w 13747535"/>
              <a:gd name="connsiteY6" fmla="*/ 1560786 h 2453822"/>
              <a:gd name="connsiteX7" fmla="*/ 4650828 w 13747535"/>
              <a:gd name="connsiteY7" fmla="*/ 1103586 h 2453822"/>
              <a:gd name="connsiteX8" fmla="*/ 5277491 w 13747535"/>
              <a:gd name="connsiteY8" fmla="*/ 638623 h 2453822"/>
              <a:gd name="connsiteX9" fmla="*/ 5568841 w 13747535"/>
              <a:gd name="connsiteY9" fmla="*/ 1157779 h 2453822"/>
              <a:gd name="connsiteX10" fmla="*/ 5925796 w 13747535"/>
              <a:gd name="connsiteY10" fmla="*/ 2112800 h 2453822"/>
              <a:gd name="connsiteX11" fmla="*/ 6721366 w 13747535"/>
              <a:gd name="connsiteY11" fmla="*/ 1338755 h 2453822"/>
              <a:gd name="connsiteX12" fmla="*/ 7330966 w 13747535"/>
              <a:gd name="connsiteY12" fmla="*/ 651141 h 2453822"/>
              <a:gd name="connsiteX13" fmla="*/ 7945821 w 13747535"/>
              <a:gd name="connsiteY13" fmla="*/ 1135117 h 2453822"/>
              <a:gd name="connsiteX14" fmla="*/ 8560676 w 13747535"/>
              <a:gd name="connsiteY14" fmla="*/ 1198179 h 2453822"/>
              <a:gd name="connsiteX15" fmla="*/ 8797159 w 13747535"/>
              <a:gd name="connsiteY15" fmla="*/ 488731 h 2453822"/>
              <a:gd name="connsiteX16" fmla="*/ 9144000 w 13747535"/>
              <a:gd name="connsiteY16" fmla="*/ 504496 h 2453822"/>
              <a:gd name="connsiteX17" fmla="*/ 9317421 w 13747535"/>
              <a:gd name="connsiteY17" fmla="*/ 1229710 h 2453822"/>
              <a:gd name="connsiteX18" fmla="*/ 10357945 w 13747535"/>
              <a:gd name="connsiteY18" fmla="*/ 1135117 h 2453822"/>
              <a:gd name="connsiteX19" fmla="*/ 11177752 w 13747535"/>
              <a:gd name="connsiteY19" fmla="*/ 220717 h 2453822"/>
              <a:gd name="connsiteX20" fmla="*/ 10788213 w 13747535"/>
              <a:gd name="connsiteY20" fmla="*/ 20364 h 2453822"/>
              <a:gd name="connsiteX21" fmla="*/ 10384221 w 13747535"/>
              <a:gd name="connsiteY21" fmla="*/ 332389 h 2453822"/>
              <a:gd name="connsiteX22" fmla="*/ 10830911 w 13747535"/>
              <a:gd name="connsiteY22" fmla="*/ 1150883 h 2453822"/>
              <a:gd name="connsiteX23" fmla="*/ 11357631 w 13747535"/>
              <a:gd name="connsiteY23" fmla="*/ 994101 h 2453822"/>
              <a:gd name="connsiteX24" fmla="*/ 13747535 w 13747535"/>
              <a:gd name="connsiteY24" fmla="*/ 0 h 2453822"/>
              <a:gd name="connsiteX0" fmla="*/ 0 w 11357631"/>
              <a:gd name="connsiteY0" fmla="*/ 1150831 h 2438005"/>
              <a:gd name="connsiteX1" fmla="*/ 1182414 w 11357631"/>
              <a:gd name="connsiteY1" fmla="*/ 2427838 h 2438005"/>
              <a:gd name="connsiteX2" fmla="*/ 1986456 w 11357631"/>
              <a:gd name="connsiteY2" fmla="*/ 535976 h 2438005"/>
              <a:gd name="connsiteX3" fmla="*/ 3373821 w 11357631"/>
              <a:gd name="connsiteY3" fmla="*/ 1166597 h 2438005"/>
              <a:gd name="connsiteX4" fmla="*/ 4382814 w 11357631"/>
              <a:gd name="connsiteY4" fmla="*/ 1103535 h 2438005"/>
              <a:gd name="connsiteX5" fmla="*/ 4414345 w 11357631"/>
              <a:gd name="connsiteY5" fmla="*/ 1544969 h 2438005"/>
              <a:gd name="connsiteX6" fmla="*/ 4666594 w 11357631"/>
              <a:gd name="connsiteY6" fmla="*/ 1544969 h 2438005"/>
              <a:gd name="connsiteX7" fmla="*/ 4650828 w 11357631"/>
              <a:gd name="connsiteY7" fmla="*/ 1087769 h 2438005"/>
              <a:gd name="connsiteX8" fmla="*/ 5277491 w 11357631"/>
              <a:gd name="connsiteY8" fmla="*/ 622806 h 2438005"/>
              <a:gd name="connsiteX9" fmla="*/ 5568841 w 11357631"/>
              <a:gd name="connsiteY9" fmla="*/ 1141962 h 2438005"/>
              <a:gd name="connsiteX10" fmla="*/ 5925796 w 11357631"/>
              <a:gd name="connsiteY10" fmla="*/ 2096983 h 2438005"/>
              <a:gd name="connsiteX11" fmla="*/ 6721366 w 11357631"/>
              <a:gd name="connsiteY11" fmla="*/ 1322938 h 2438005"/>
              <a:gd name="connsiteX12" fmla="*/ 7330966 w 11357631"/>
              <a:gd name="connsiteY12" fmla="*/ 635324 h 2438005"/>
              <a:gd name="connsiteX13" fmla="*/ 7945821 w 11357631"/>
              <a:gd name="connsiteY13" fmla="*/ 1119300 h 2438005"/>
              <a:gd name="connsiteX14" fmla="*/ 8560676 w 11357631"/>
              <a:gd name="connsiteY14" fmla="*/ 1182362 h 2438005"/>
              <a:gd name="connsiteX15" fmla="*/ 8797159 w 11357631"/>
              <a:gd name="connsiteY15" fmla="*/ 472914 h 2438005"/>
              <a:gd name="connsiteX16" fmla="*/ 9144000 w 11357631"/>
              <a:gd name="connsiteY16" fmla="*/ 488679 h 2438005"/>
              <a:gd name="connsiteX17" fmla="*/ 9317421 w 11357631"/>
              <a:gd name="connsiteY17" fmla="*/ 1213893 h 2438005"/>
              <a:gd name="connsiteX18" fmla="*/ 10357945 w 11357631"/>
              <a:gd name="connsiteY18" fmla="*/ 1119300 h 2438005"/>
              <a:gd name="connsiteX19" fmla="*/ 11177752 w 11357631"/>
              <a:gd name="connsiteY19" fmla="*/ 204900 h 2438005"/>
              <a:gd name="connsiteX20" fmla="*/ 10788213 w 11357631"/>
              <a:gd name="connsiteY20" fmla="*/ 4547 h 2438005"/>
              <a:gd name="connsiteX21" fmla="*/ 10384221 w 11357631"/>
              <a:gd name="connsiteY21" fmla="*/ 316572 h 2438005"/>
              <a:gd name="connsiteX22" fmla="*/ 10830911 w 11357631"/>
              <a:gd name="connsiteY22" fmla="*/ 1135066 h 2438005"/>
              <a:gd name="connsiteX23" fmla="*/ 11357631 w 11357631"/>
              <a:gd name="connsiteY23" fmla="*/ 978284 h 2438005"/>
              <a:gd name="connsiteX0" fmla="*/ 0 w 11357631"/>
              <a:gd name="connsiteY0" fmla="*/ 1150831 h 2438005"/>
              <a:gd name="connsiteX1" fmla="*/ 1182414 w 11357631"/>
              <a:gd name="connsiteY1" fmla="*/ 2427838 h 2438005"/>
              <a:gd name="connsiteX2" fmla="*/ 1986456 w 11357631"/>
              <a:gd name="connsiteY2" fmla="*/ 535976 h 2438005"/>
              <a:gd name="connsiteX3" fmla="*/ 3373821 w 11357631"/>
              <a:gd name="connsiteY3" fmla="*/ 1166597 h 2438005"/>
              <a:gd name="connsiteX4" fmla="*/ 3708183 w 11357631"/>
              <a:gd name="connsiteY4" fmla="*/ 1198513 h 2438005"/>
              <a:gd name="connsiteX5" fmla="*/ 4382814 w 11357631"/>
              <a:gd name="connsiteY5" fmla="*/ 1103535 h 2438005"/>
              <a:gd name="connsiteX6" fmla="*/ 4414345 w 11357631"/>
              <a:gd name="connsiteY6" fmla="*/ 1544969 h 2438005"/>
              <a:gd name="connsiteX7" fmla="*/ 4666594 w 11357631"/>
              <a:gd name="connsiteY7" fmla="*/ 1544969 h 2438005"/>
              <a:gd name="connsiteX8" fmla="*/ 4650828 w 11357631"/>
              <a:gd name="connsiteY8" fmla="*/ 1087769 h 2438005"/>
              <a:gd name="connsiteX9" fmla="*/ 5277491 w 11357631"/>
              <a:gd name="connsiteY9" fmla="*/ 622806 h 2438005"/>
              <a:gd name="connsiteX10" fmla="*/ 5568841 w 11357631"/>
              <a:gd name="connsiteY10" fmla="*/ 1141962 h 2438005"/>
              <a:gd name="connsiteX11" fmla="*/ 5925796 w 11357631"/>
              <a:gd name="connsiteY11" fmla="*/ 2096983 h 2438005"/>
              <a:gd name="connsiteX12" fmla="*/ 6721366 w 11357631"/>
              <a:gd name="connsiteY12" fmla="*/ 1322938 h 2438005"/>
              <a:gd name="connsiteX13" fmla="*/ 7330966 w 11357631"/>
              <a:gd name="connsiteY13" fmla="*/ 635324 h 2438005"/>
              <a:gd name="connsiteX14" fmla="*/ 7945821 w 11357631"/>
              <a:gd name="connsiteY14" fmla="*/ 1119300 h 2438005"/>
              <a:gd name="connsiteX15" fmla="*/ 8560676 w 11357631"/>
              <a:gd name="connsiteY15" fmla="*/ 1182362 h 2438005"/>
              <a:gd name="connsiteX16" fmla="*/ 8797159 w 11357631"/>
              <a:gd name="connsiteY16" fmla="*/ 472914 h 2438005"/>
              <a:gd name="connsiteX17" fmla="*/ 9144000 w 11357631"/>
              <a:gd name="connsiteY17" fmla="*/ 488679 h 2438005"/>
              <a:gd name="connsiteX18" fmla="*/ 9317421 w 11357631"/>
              <a:gd name="connsiteY18" fmla="*/ 1213893 h 2438005"/>
              <a:gd name="connsiteX19" fmla="*/ 10357945 w 11357631"/>
              <a:gd name="connsiteY19" fmla="*/ 1119300 h 2438005"/>
              <a:gd name="connsiteX20" fmla="*/ 11177752 w 11357631"/>
              <a:gd name="connsiteY20" fmla="*/ 204900 h 2438005"/>
              <a:gd name="connsiteX21" fmla="*/ 10788213 w 11357631"/>
              <a:gd name="connsiteY21" fmla="*/ 4547 h 2438005"/>
              <a:gd name="connsiteX22" fmla="*/ 10384221 w 11357631"/>
              <a:gd name="connsiteY22" fmla="*/ 316572 h 2438005"/>
              <a:gd name="connsiteX23" fmla="*/ 10830911 w 11357631"/>
              <a:gd name="connsiteY23" fmla="*/ 1135066 h 2438005"/>
              <a:gd name="connsiteX24" fmla="*/ 11357631 w 11357631"/>
              <a:gd name="connsiteY24" fmla="*/ 978284 h 2438005"/>
              <a:gd name="connsiteX0" fmla="*/ 0 w 10175217"/>
              <a:gd name="connsiteY0" fmla="*/ 2427838 h 2427838"/>
              <a:gd name="connsiteX1" fmla="*/ 804042 w 10175217"/>
              <a:gd name="connsiteY1" fmla="*/ 535976 h 2427838"/>
              <a:gd name="connsiteX2" fmla="*/ 2191407 w 10175217"/>
              <a:gd name="connsiteY2" fmla="*/ 1166597 h 2427838"/>
              <a:gd name="connsiteX3" fmla="*/ 2525769 w 10175217"/>
              <a:gd name="connsiteY3" fmla="*/ 1198513 h 2427838"/>
              <a:gd name="connsiteX4" fmla="*/ 3200400 w 10175217"/>
              <a:gd name="connsiteY4" fmla="*/ 1103535 h 2427838"/>
              <a:gd name="connsiteX5" fmla="*/ 3231931 w 10175217"/>
              <a:gd name="connsiteY5" fmla="*/ 1544969 h 2427838"/>
              <a:gd name="connsiteX6" fmla="*/ 3484180 w 10175217"/>
              <a:gd name="connsiteY6" fmla="*/ 1544969 h 2427838"/>
              <a:gd name="connsiteX7" fmla="*/ 3468414 w 10175217"/>
              <a:gd name="connsiteY7" fmla="*/ 1087769 h 2427838"/>
              <a:gd name="connsiteX8" fmla="*/ 4095077 w 10175217"/>
              <a:gd name="connsiteY8" fmla="*/ 622806 h 2427838"/>
              <a:gd name="connsiteX9" fmla="*/ 4386427 w 10175217"/>
              <a:gd name="connsiteY9" fmla="*/ 1141962 h 2427838"/>
              <a:gd name="connsiteX10" fmla="*/ 4743382 w 10175217"/>
              <a:gd name="connsiteY10" fmla="*/ 2096983 h 2427838"/>
              <a:gd name="connsiteX11" fmla="*/ 5538952 w 10175217"/>
              <a:gd name="connsiteY11" fmla="*/ 1322938 h 2427838"/>
              <a:gd name="connsiteX12" fmla="*/ 6148552 w 10175217"/>
              <a:gd name="connsiteY12" fmla="*/ 635324 h 2427838"/>
              <a:gd name="connsiteX13" fmla="*/ 6763407 w 10175217"/>
              <a:gd name="connsiteY13" fmla="*/ 1119300 h 2427838"/>
              <a:gd name="connsiteX14" fmla="*/ 7378262 w 10175217"/>
              <a:gd name="connsiteY14" fmla="*/ 1182362 h 2427838"/>
              <a:gd name="connsiteX15" fmla="*/ 7614745 w 10175217"/>
              <a:gd name="connsiteY15" fmla="*/ 472914 h 2427838"/>
              <a:gd name="connsiteX16" fmla="*/ 7961586 w 10175217"/>
              <a:gd name="connsiteY16" fmla="*/ 488679 h 2427838"/>
              <a:gd name="connsiteX17" fmla="*/ 8135007 w 10175217"/>
              <a:gd name="connsiteY17" fmla="*/ 1213893 h 2427838"/>
              <a:gd name="connsiteX18" fmla="*/ 9175531 w 10175217"/>
              <a:gd name="connsiteY18" fmla="*/ 1119300 h 2427838"/>
              <a:gd name="connsiteX19" fmla="*/ 9995338 w 10175217"/>
              <a:gd name="connsiteY19" fmla="*/ 204900 h 2427838"/>
              <a:gd name="connsiteX20" fmla="*/ 9605799 w 10175217"/>
              <a:gd name="connsiteY20" fmla="*/ 4547 h 2427838"/>
              <a:gd name="connsiteX21" fmla="*/ 9201807 w 10175217"/>
              <a:gd name="connsiteY21" fmla="*/ 316572 h 2427838"/>
              <a:gd name="connsiteX22" fmla="*/ 9648497 w 10175217"/>
              <a:gd name="connsiteY22" fmla="*/ 1135066 h 2427838"/>
              <a:gd name="connsiteX23" fmla="*/ 10175217 w 10175217"/>
              <a:gd name="connsiteY23" fmla="*/ 978284 h 2427838"/>
              <a:gd name="connsiteX0" fmla="*/ 0 w 10175217"/>
              <a:gd name="connsiteY0" fmla="*/ 2427838 h 2427838"/>
              <a:gd name="connsiteX1" fmla="*/ 2191407 w 10175217"/>
              <a:gd name="connsiteY1" fmla="*/ 1166597 h 2427838"/>
              <a:gd name="connsiteX2" fmla="*/ 2525769 w 10175217"/>
              <a:gd name="connsiteY2" fmla="*/ 1198513 h 2427838"/>
              <a:gd name="connsiteX3" fmla="*/ 3200400 w 10175217"/>
              <a:gd name="connsiteY3" fmla="*/ 1103535 h 2427838"/>
              <a:gd name="connsiteX4" fmla="*/ 3231931 w 10175217"/>
              <a:gd name="connsiteY4" fmla="*/ 1544969 h 2427838"/>
              <a:gd name="connsiteX5" fmla="*/ 3484180 w 10175217"/>
              <a:gd name="connsiteY5" fmla="*/ 1544969 h 2427838"/>
              <a:gd name="connsiteX6" fmla="*/ 3468414 w 10175217"/>
              <a:gd name="connsiteY6" fmla="*/ 1087769 h 2427838"/>
              <a:gd name="connsiteX7" fmla="*/ 4095077 w 10175217"/>
              <a:gd name="connsiteY7" fmla="*/ 622806 h 2427838"/>
              <a:gd name="connsiteX8" fmla="*/ 4386427 w 10175217"/>
              <a:gd name="connsiteY8" fmla="*/ 1141962 h 2427838"/>
              <a:gd name="connsiteX9" fmla="*/ 4743382 w 10175217"/>
              <a:gd name="connsiteY9" fmla="*/ 2096983 h 2427838"/>
              <a:gd name="connsiteX10" fmla="*/ 5538952 w 10175217"/>
              <a:gd name="connsiteY10" fmla="*/ 1322938 h 2427838"/>
              <a:gd name="connsiteX11" fmla="*/ 6148552 w 10175217"/>
              <a:gd name="connsiteY11" fmla="*/ 635324 h 2427838"/>
              <a:gd name="connsiteX12" fmla="*/ 6763407 w 10175217"/>
              <a:gd name="connsiteY12" fmla="*/ 1119300 h 2427838"/>
              <a:gd name="connsiteX13" fmla="*/ 7378262 w 10175217"/>
              <a:gd name="connsiteY13" fmla="*/ 1182362 h 2427838"/>
              <a:gd name="connsiteX14" fmla="*/ 7614745 w 10175217"/>
              <a:gd name="connsiteY14" fmla="*/ 472914 h 2427838"/>
              <a:gd name="connsiteX15" fmla="*/ 7961586 w 10175217"/>
              <a:gd name="connsiteY15" fmla="*/ 488679 h 2427838"/>
              <a:gd name="connsiteX16" fmla="*/ 8135007 w 10175217"/>
              <a:gd name="connsiteY16" fmla="*/ 1213893 h 2427838"/>
              <a:gd name="connsiteX17" fmla="*/ 9175531 w 10175217"/>
              <a:gd name="connsiteY17" fmla="*/ 1119300 h 2427838"/>
              <a:gd name="connsiteX18" fmla="*/ 9995338 w 10175217"/>
              <a:gd name="connsiteY18" fmla="*/ 204900 h 2427838"/>
              <a:gd name="connsiteX19" fmla="*/ 9605799 w 10175217"/>
              <a:gd name="connsiteY19" fmla="*/ 4547 h 2427838"/>
              <a:gd name="connsiteX20" fmla="*/ 9201807 w 10175217"/>
              <a:gd name="connsiteY20" fmla="*/ 316572 h 2427838"/>
              <a:gd name="connsiteX21" fmla="*/ 9648497 w 10175217"/>
              <a:gd name="connsiteY21" fmla="*/ 1135066 h 2427838"/>
              <a:gd name="connsiteX22" fmla="*/ 10175217 w 10175217"/>
              <a:gd name="connsiteY22" fmla="*/ 978284 h 2427838"/>
              <a:gd name="connsiteX0" fmla="*/ 0 w 10175217"/>
              <a:gd name="connsiteY0" fmla="*/ 2427838 h 2427838"/>
              <a:gd name="connsiteX1" fmla="*/ 2525769 w 10175217"/>
              <a:gd name="connsiteY1" fmla="*/ 1198513 h 2427838"/>
              <a:gd name="connsiteX2" fmla="*/ 3200400 w 10175217"/>
              <a:gd name="connsiteY2" fmla="*/ 1103535 h 2427838"/>
              <a:gd name="connsiteX3" fmla="*/ 3231931 w 10175217"/>
              <a:gd name="connsiteY3" fmla="*/ 1544969 h 2427838"/>
              <a:gd name="connsiteX4" fmla="*/ 3484180 w 10175217"/>
              <a:gd name="connsiteY4" fmla="*/ 1544969 h 2427838"/>
              <a:gd name="connsiteX5" fmla="*/ 3468414 w 10175217"/>
              <a:gd name="connsiteY5" fmla="*/ 1087769 h 2427838"/>
              <a:gd name="connsiteX6" fmla="*/ 4095077 w 10175217"/>
              <a:gd name="connsiteY6" fmla="*/ 622806 h 2427838"/>
              <a:gd name="connsiteX7" fmla="*/ 4386427 w 10175217"/>
              <a:gd name="connsiteY7" fmla="*/ 1141962 h 2427838"/>
              <a:gd name="connsiteX8" fmla="*/ 4743382 w 10175217"/>
              <a:gd name="connsiteY8" fmla="*/ 2096983 h 2427838"/>
              <a:gd name="connsiteX9" fmla="*/ 5538952 w 10175217"/>
              <a:gd name="connsiteY9" fmla="*/ 1322938 h 2427838"/>
              <a:gd name="connsiteX10" fmla="*/ 6148552 w 10175217"/>
              <a:gd name="connsiteY10" fmla="*/ 635324 h 2427838"/>
              <a:gd name="connsiteX11" fmla="*/ 6763407 w 10175217"/>
              <a:gd name="connsiteY11" fmla="*/ 1119300 h 2427838"/>
              <a:gd name="connsiteX12" fmla="*/ 7378262 w 10175217"/>
              <a:gd name="connsiteY12" fmla="*/ 1182362 h 2427838"/>
              <a:gd name="connsiteX13" fmla="*/ 7614745 w 10175217"/>
              <a:gd name="connsiteY13" fmla="*/ 472914 h 2427838"/>
              <a:gd name="connsiteX14" fmla="*/ 7961586 w 10175217"/>
              <a:gd name="connsiteY14" fmla="*/ 488679 h 2427838"/>
              <a:gd name="connsiteX15" fmla="*/ 8135007 w 10175217"/>
              <a:gd name="connsiteY15" fmla="*/ 1213893 h 2427838"/>
              <a:gd name="connsiteX16" fmla="*/ 9175531 w 10175217"/>
              <a:gd name="connsiteY16" fmla="*/ 1119300 h 2427838"/>
              <a:gd name="connsiteX17" fmla="*/ 9995338 w 10175217"/>
              <a:gd name="connsiteY17" fmla="*/ 204900 h 2427838"/>
              <a:gd name="connsiteX18" fmla="*/ 9605799 w 10175217"/>
              <a:gd name="connsiteY18" fmla="*/ 4547 h 2427838"/>
              <a:gd name="connsiteX19" fmla="*/ 9201807 w 10175217"/>
              <a:gd name="connsiteY19" fmla="*/ 316572 h 2427838"/>
              <a:gd name="connsiteX20" fmla="*/ 9648497 w 10175217"/>
              <a:gd name="connsiteY20" fmla="*/ 1135066 h 2427838"/>
              <a:gd name="connsiteX21" fmla="*/ 10175217 w 10175217"/>
              <a:gd name="connsiteY21" fmla="*/ 978284 h 2427838"/>
              <a:gd name="connsiteX0" fmla="*/ 0 w 10175217"/>
              <a:gd name="connsiteY0" fmla="*/ 2427838 h 2427838"/>
              <a:gd name="connsiteX1" fmla="*/ 3200400 w 10175217"/>
              <a:gd name="connsiteY1" fmla="*/ 1103535 h 2427838"/>
              <a:gd name="connsiteX2" fmla="*/ 3231931 w 10175217"/>
              <a:gd name="connsiteY2" fmla="*/ 1544969 h 2427838"/>
              <a:gd name="connsiteX3" fmla="*/ 3484180 w 10175217"/>
              <a:gd name="connsiteY3" fmla="*/ 1544969 h 2427838"/>
              <a:gd name="connsiteX4" fmla="*/ 3468414 w 10175217"/>
              <a:gd name="connsiteY4" fmla="*/ 1087769 h 2427838"/>
              <a:gd name="connsiteX5" fmla="*/ 4095077 w 10175217"/>
              <a:gd name="connsiteY5" fmla="*/ 622806 h 2427838"/>
              <a:gd name="connsiteX6" fmla="*/ 4386427 w 10175217"/>
              <a:gd name="connsiteY6" fmla="*/ 1141962 h 2427838"/>
              <a:gd name="connsiteX7" fmla="*/ 4743382 w 10175217"/>
              <a:gd name="connsiteY7" fmla="*/ 2096983 h 2427838"/>
              <a:gd name="connsiteX8" fmla="*/ 5538952 w 10175217"/>
              <a:gd name="connsiteY8" fmla="*/ 1322938 h 2427838"/>
              <a:gd name="connsiteX9" fmla="*/ 6148552 w 10175217"/>
              <a:gd name="connsiteY9" fmla="*/ 635324 h 2427838"/>
              <a:gd name="connsiteX10" fmla="*/ 6763407 w 10175217"/>
              <a:gd name="connsiteY10" fmla="*/ 1119300 h 2427838"/>
              <a:gd name="connsiteX11" fmla="*/ 7378262 w 10175217"/>
              <a:gd name="connsiteY11" fmla="*/ 1182362 h 2427838"/>
              <a:gd name="connsiteX12" fmla="*/ 7614745 w 10175217"/>
              <a:gd name="connsiteY12" fmla="*/ 472914 h 2427838"/>
              <a:gd name="connsiteX13" fmla="*/ 7961586 w 10175217"/>
              <a:gd name="connsiteY13" fmla="*/ 488679 h 2427838"/>
              <a:gd name="connsiteX14" fmla="*/ 8135007 w 10175217"/>
              <a:gd name="connsiteY14" fmla="*/ 1213893 h 2427838"/>
              <a:gd name="connsiteX15" fmla="*/ 9175531 w 10175217"/>
              <a:gd name="connsiteY15" fmla="*/ 1119300 h 2427838"/>
              <a:gd name="connsiteX16" fmla="*/ 9995338 w 10175217"/>
              <a:gd name="connsiteY16" fmla="*/ 204900 h 2427838"/>
              <a:gd name="connsiteX17" fmla="*/ 9605799 w 10175217"/>
              <a:gd name="connsiteY17" fmla="*/ 4547 h 2427838"/>
              <a:gd name="connsiteX18" fmla="*/ 9201807 w 10175217"/>
              <a:gd name="connsiteY18" fmla="*/ 316572 h 2427838"/>
              <a:gd name="connsiteX19" fmla="*/ 9648497 w 10175217"/>
              <a:gd name="connsiteY19" fmla="*/ 1135066 h 2427838"/>
              <a:gd name="connsiteX20" fmla="*/ 10175217 w 10175217"/>
              <a:gd name="connsiteY20" fmla="*/ 978284 h 2427838"/>
              <a:gd name="connsiteX0" fmla="*/ 0 w 10175217"/>
              <a:gd name="connsiteY0" fmla="*/ 2427838 h 2427838"/>
              <a:gd name="connsiteX1" fmla="*/ 2661017 w 10175217"/>
              <a:gd name="connsiteY1" fmla="*/ 1097242 h 2427838"/>
              <a:gd name="connsiteX2" fmla="*/ 3231931 w 10175217"/>
              <a:gd name="connsiteY2" fmla="*/ 1544969 h 2427838"/>
              <a:gd name="connsiteX3" fmla="*/ 3484180 w 10175217"/>
              <a:gd name="connsiteY3" fmla="*/ 1544969 h 2427838"/>
              <a:gd name="connsiteX4" fmla="*/ 3468414 w 10175217"/>
              <a:gd name="connsiteY4" fmla="*/ 1087769 h 2427838"/>
              <a:gd name="connsiteX5" fmla="*/ 4095077 w 10175217"/>
              <a:gd name="connsiteY5" fmla="*/ 622806 h 2427838"/>
              <a:gd name="connsiteX6" fmla="*/ 4386427 w 10175217"/>
              <a:gd name="connsiteY6" fmla="*/ 1141962 h 2427838"/>
              <a:gd name="connsiteX7" fmla="*/ 4743382 w 10175217"/>
              <a:gd name="connsiteY7" fmla="*/ 2096983 h 2427838"/>
              <a:gd name="connsiteX8" fmla="*/ 5538952 w 10175217"/>
              <a:gd name="connsiteY8" fmla="*/ 1322938 h 2427838"/>
              <a:gd name="connsiteX9" fmla="*/ 6148552 w 10175217"/>
              <a:gd name="connsiteY9" fmla="*/ 635324 h 2427838"/>
              <a:gd name="connsiteX10" fmla="*/ 6763407 w 10175217"/>
              <a:gd name="connsiteY10" fmla="*/ 1119300 h 2427838"/>
              <a:gd name="connsiteX11" fmla="*/ 7378262 w 10175217"/>
              <a:gd name="connsiteY11" fmla="*/ 1182362 h 2427838"/>
              <a:gd name="connsiteX12" fmla="*/ 7614745 w 10175217"/>
              <a:gd name="connsiteY12" fmla="*/ 472914 h 2427838"/>
              <a:gd name="connsiteX13" fmla="*/ 7961586 w 10175217"/>
              <a:gd name="connsiteY13" fmla="*/ 488679 h 2427838"/>
              <a:gd name="connsiteX14" fmla="*/ 8135007 w 10175217"/>
              <a:gd name="connsiteY14" fmla="*/ 1213893 h 2427838"/>
              <a:gd name="connsiteX15" fmla="*/ 9175531 w 10175217"/>
              <a:gd name="connsiteY15" fmla="*/ 1119300 h 2427838"/>
              <a:gd name="connsiteX16" fmla="*/ 9995338 w 10175217"/>
              <a:gd name="connsiteY16" fmla="*/ 204900 h 2427838"/>
              <a:gd name="connsiteX17" fmla="*/ 9605799 w 10175217"/>
              <a:gd name="connsiteY17" fmla="*/ 4547 h 2427838"/>
              <a:gd name="connsiteX18" fmla="*/ 9201807 w 10175217"/>
              <a:gd name="connsiteY18" fmla="*/ 316572 h 2427838"/>
              <a:gd name="connsiteX19" fmla="*/ 9648497 w 10175217"/>
              <a:gd name="connsiteY19" fmla="*/ 1135066 h 2427838"/>
              <a:gd name="connsiteX20" fmla="*/ 10175217 w 10175217"/>
              <a:gd name="connsiteY20" fmla="*/ 978284 h 2427838"/>
              <a:gd name="connsiteX0" fmla="*/ 0 w 7514200"/>
              <a:gd name="connsiteY0" fmla="*/ 1097242 h 2104332"/>
              <a:gd name="connsiteX1" fmla="*/ 570914 w 7514200"/>
              <a:gd name="connsiteY1" fmla="*/ 1544969 h 2104332"/>
              <a:gd name="connsiteX2" fmla="*/ 823163 w 7514200"/>
              <a:gd name="connsiteY2" fmla="*/ 1544969 h 2104332"/>
              <a:gd name="connsiteX3" fmla="*/ 807397 w 7514200"/>
              <a:gd name="connsiteY3" fmla="*/ 1087769 h 2104332"/>
              <a:gd name="connsiteX4" fmla="*/ 1434060 w 7514200"/>
              <a:gd name="connsiteY4" fmla="*/ 622806 h 2104332"/>
              <a:gd name="connsiteX5" fmla="*/ 1725410 w 7514200"/>
              <a:gd name="connsiteY5" fmla="*/ 1141962 h 2104332"/>
              <a:gd name="connsiteX6" fmla="*/ 2082365 w 7514200"/>
              <a:gd name="connsiteY6" fmla="*/ 2096983 h 2104332"/>
              <a:gd name="connsiteX7" fmla="*/ 2877935 w 7514200"/>
              <a:gd name="connsiteY7" fmla="*/ 1322938 h 2104332"/>
              <a:gd name="connsiteX8" fmla="*/ 3487535 w 7514200"/>
              <a:gd name="connsiteY8" fmla="*/ 635324 h 2104332"/>
              <a:gd name="connsiteX9" fmla="*/ 4102390 w 7514200"/>
              <a:gd name="connsiteY9" fmla="*/ 1119300 h 2104332"/>
              <a:gd name="connsiteX10" fmla="*/ 4717245 w 7514200"/>
              <a:gd name="connsiteY10" fmla="*/ 1182362 h 2104332"/>
              <a:gd name="connsiteX11" fmla="*/ 4953728 w 7514200"/>
              <a:gd name="connsiteY11" fmla="*/ 472914 h 2104332"/>
              <a:gd name="connsiteX12" fmla="*/ 5300569 w 7514200"/>
              <a:gd name="connsiteY12" fmla="*/ 488679 h 2104332"/>
              <a:gd name="connsiteX13" fmla="*/ 5473990 w 7514200"/>
              <a:gd name="connsiteY13" fmla="*/ 1213893 h 2104332"/>
              <a:gd name="connsiteX14" fmla="*/ 6514514 w 7514200"/>
              <a:gd name="connsiteY14" fmla="*/ 1119300 h 2104332"/>
              <a:gd name="connsiteX15" fmla="*/ 7334321 w 7514200"/>
              <a:gd name="connsiteY15" fmla="*/ 204900 h 2104332"/>
              <a:gd name="connsiteX16" fmla="*/ 6944782 w 7514200"/>
              <a:gd name="connsiteY16" fmla="*/ 4547 h 2104332"/>
              <a:gd name="connsiteX17" fmla="*/ 6540790 w 7514200"/>
              <a:gd name="connsiteY17" fmla="*/ 316572 h 2104332"/>
              <a:gd name="connsiteX18" fmla="*/ 6987480 w 7514200"/>
              <a:gd name="connsiteY18" fmla="*/ 1135066 h 2104332"/>
              <a:gd name="connsiteX19" fmla="*/ 7514200 w 7514200"/>
              <a:gd name="connsiteY19" fmla="*/ 978284 h 2104332"/>
              <a:gd name="connsiteX0" fmla="*/ 0 w 7416130"/>
              <a:gd name="connsiteY0" fmla="*/ 983982 h 2104332"/>
              <a:gd name="connsiteX1" fmla="*/ 472844 w 7416130"/>
              <a:gd name="connsiteY1" fmla="*/ 1544969 h 2104332"/>
              <a:gd name="connsiteX2" fmla="*/ 725093 w 7416130"/>
              <a:gd name="connsiteY2" fmla="*/ 1544969 h 2104332"/>
              <a:gd name="connsiteX3" fmla="*/ 709327 w 7416130"/>
              <a:gd name="connsiteY3" fmla="*/ 1087769 h 2104332"/>
              <a:gd name="connsiteX4" fmla="*/ 1335990 w 7416130"/>
              <a:gd name="connsiteY4" fmla="*/ 622806 h 2104332"/>
              <a:gd name="connsiteX5" fmla="*/ 1627340 w 7416130"/>
              <a:gd name="connsiteY5" fmla="*/ 1141962 h 2104332"/>
              <a:gd name="connsiteX6" fmla="*/ 1984295 w 7416130"/>
              <a:gd name="connsiteY6" fmla="*/ 2096983 h 2104332"/>
              <a:gd name="connsiteX7" fmla="*/ 2779865 w 7416130"/>
              <a:gd name="connsiteY7" fmla="*/ 1322938 h 2104332"/>
              <a:gd name="connsiteX8" fmla="*/ 3389465 w 7416130"/>
              <a:gd name="connsiteY8" fmla="*/ 635324 h 2104332"/>
              <a:gd name="connsiteX9" fmla="*/ 4004320 w 7416130"/>
              <a:gd name="connsiteY9" fmla="*/ 1119300 h 2104332"/>
              <a:gd name="connsiteX10" fmla="*/ 4619175 w 7416130"/>
              <a:gd name="connsiteY10" fmla="*/ 1182362 h 2104332"/>
              <a:gd name="connsiteX11" fmla="*/ 4855658 w 7416130"/>
              <a:gd name="connsiteY11" fmla="*/ 472914 h 2104332"/>
              <a:gd name="connsiteX12" fmla="*/ 5202499 w 7416130"/>
              <a:gd name="connsiteY12" fmla="*/ 488679 h 2104332"/>
              <a:gd name="connsiteX13" fmla="*/ 5375920 w 7416130"/>
              <a:gd name="connsiteY13" fmla="*/ 1213893 h 2104332"/>
              <a:gd name="connsiteX14" fmla="*/ 6416444 w 7416130"/>
              <a:gd name="connsiteY14" fmla="*/ 1119300 h 2104332"/>
              <a:gd name="connsiteX15" fmla="*/ 7236251 w 7416130"/>
              <a:gd name="connsiteY15" fmla="*/ 204900 h 2104332"/>
              <a:gd name="connsiteX16" fmla="*/ 6846712 w 7416130"/>
              <a:gd name="connsiteY16" fmla="*/ 4547 h 2104332"/>
              <a:gd name="connsiteX17" fmla="*/ 6442720 w 7416130"/>
              <a:gd name="connsiteY17" fmla="*/ 316572 h 2104332"/>
              <a:gd name="connsiteX18" fmla="*/ 6889410 w 7416130"/>
              <a:gd name="connsiteY18" fmla="*/ 1135066 h 2104332"/>
              <a:gd name="connsiteX19" fmla="*/ 7416130 w 7416130"/>
              <a:gd name="connsiteY19" fmla="*/ 978284 h 2104332"/>
              <a:gd name="connsiteX0" fmla="*/ 0 w 7318060"/>
              <a:gd name="connsiteY0" fmla="*/ 983982 h 2104332"/>
              <a:gd name="connsiteX1" fmla="*/ 472844 w 7318060"/>
              <a:gd name="connsiteY1" fmla="*/ 1544969 h 2104332"/>
              <a:gd name="connsiteX2" fmla="*/ 725093 w 7318060"/>
              <a:gd name="connsiteY2" fmla="*/ 1544969 h 2104332"/>
              <a:gd name="connsiteX3" fmla="*/ 709327 w 7318060"/>
              <a:gd name="connsiteY3" fmla="*/ 1087769 h 2104332"/>
              <a:gd name="connsiteX4" fmla="*/ 1335990 w 7318060"/>
              <a:gd name="connsiteY4" fmla="*/ 622806 h 2104332"/>
              <a:gd name="connsiteX5" fmla="*/ 1627340 w 7318060"/>
              <a:gd name="connsiteY5" fmla="*/ 1141962 h 2104332"/>
              <a:gd name="connsiteX6" fmla="*/ 1984295 w 7318060"/>
              <a:gd name="connsiteY6" fmla="*/ 2096983 h 2104332"/>
              <a:gd name="connsiteX7" fmla="*/ 2779865 w 7318060"/>
              <a:gd name="connsiteY7" fmla="*/ 1322938 h 2104332"/>
              <a:gd name="connsiteX8" fmla="*/ 3389465 w 7318060"/>
              <a:gd name="connsiteY8" fmla="*/ 635324 h 2104332"/>
              <a:gd name="connsiteX9" fmla="*/ 4004320 w 7318060"/>
              <a:gd name="connsiteY9" fmla="*/ 1119300 h 2104332"/>
              <a:gd name="connsiteX10" fmla="*/ 4619175 w 7318060"/>
              <a:gd name="connsiteY10" fmla="*/ 1182362 h 2104332"/>
              <a:gd name="connsiteX11" fmla="*/ 4855658 w 7318060"/>
              <a:gd name="connsiteY11" fmla="*/ 472914 h 2104332"/>
              <a:gd name="connsiteX12" fmla="*/ 5202499 w 7318060"/>
              <a:gd name="connsiteY12" fmla="*/ 488679 h 2104332"/>
              <a:gd name="connsiteX13" fmla="*/ 5375920 w 7318060"/>
              <a:gd name="connsiteY13" fmla="*/ 1213893 h 2104332"/>
              <a:gd name="connsiteX14" fmla="*/ 6416444 w 7318060"/>
              <a:gd name="connsiteY14" fmla="*/ 1119300 h 2104332"/>
              <a:gd name="connsiteX15" fmla="*/ 7236251 w 7318060"/>
              <a:gd name="connsiteY15" fmla="*/ 204900 h 2104332"/>
              <a:gd name="connsiteX16" fmla="*/ 6846712 w 7318060"/>
              <a:gd name="connsiteY16" fmla="*/ 4547 h 2104332"/>
              <a:gd name="connsiteX17" fmla="*/ 6442720 w 7318060"/>
              <a:gd name="connsiteY17" fmla="*/ 316572 h 2104332"/>
              <a:gd name="connsiteX18" fmla="*/ 6889410 w 7318060"/>
              <a:gd name="connsiteY18" fmla="*/ 1135066 h 2104332"/>
              <a:gd name="connsiteX19" fmla="*/ 7318060 w 7318060"/>
              <a:gd name="connsiteY19" fmla="*/ 1513126 h 2104332"/>
              <a:gd name="connsiteX0" fmla="*/ 0 w 7350749"/>
              <a:gd name="connsiteY0" fmla="*/ 983982 h 2104332"/>
              <a:gd name="connsiteX1" fmla="*/ 472844 w 7350749"/>
              <a:gd name="connsiteY1" fmla="*/ 1544969 h 2104332"/>
              <a:gd name="connsiteX2" fmla="*/ 725093 w 7350749"/>
              <a:gd name="connsiteY2" fmla="*/ 1544969 h 2104332"/>
              <a:gd name="connsiteX3" fmla="*/ 709327 w 7350749"/>
              <a:gd name="connsiteY3" fmla="*/ 1087769 h 2104332"/>
              <a:gd name="connsiteX4" fmla="*/ 1335990 w 7350749"/>
              <a:gd name="connsiteY4" fmla="*/ 622806 h 2104332"/>
              <a:gd name="connsiteX5" fmla="*/ 1627340 w 7350749"/>
              <a:gd name="connsiteY5" fmla="*/ 1141962 h 2104332"/>
              <a:gd name="connsiteX6" fmla="*/ 1984295 w 7350749"/>
              <a:gd name="connsiteY6" fmla="*/ 2096983 h 2104332"/>
              <a:gd name="connsiteX7" fmla="*/ 2779865 w 7350749"/>
              <a:gd name="connsiteY7" fmla="*/ 1322938 h 2104332"/>
              <a:gd name="connsiteX8" fmla="*/ 3389465 w 7350749"/>
              <a:gd name="connsiteY8" fmla="*/ 635324 h 2104332"/>
              <a:gd name="connsiteX9" fmla="*/ 4004320 w 7350749"/>
              <a:gd name="connsiteY9" fmla="*/ 1119300 h 2104332"/>
              <a:gd name="connsiteX10" fmla="*/ 4619175 w 7350749"/>
              <a:gd name="connsiteY10" fmla="*/ 1182362 h 2104332"/>
              <a:gd name="connsiteX11" fmla="*/ 4855658 w 7350749"/>
              <a:gd name="connsiteY11" fmla="*/ 472914 h 2104332"/>
              <a:gd name="connsiteX12" fmla="*/ 5202499 w 7350749"/>
              <a:gd name="connsiteY12" fmla="*/ 488679 h 2104332"/>
              <a:gd name="connsiteX13" fmla="*/ 5375920 w 7350749"/>
              <a:gd name="connsiteY13" fmla="*/ 1213893 h 2104332"/>
              <a:gd name="connsiteX14" fmla="*/ 6416444 w 7350749"/>
              <a:gd name="connsiteY14" fmla="*/ 1119300 h 2104332"/>
              <a:gd name="connsiteX15" fmla="*/ 7236251 w 7350749"/>
              <a:gd name="connsiteY15" fmla="*/ 204900 h 2104332"/>
              <a:gd name="connsiteX16" fmla="*/ 6846712 w 7350749"/>
              <a:gd name="connsiteY16" fmla="*/ 4547 h 2104332"/>
              <a:gd name="connsiteX17" fmla="*/ 6442720 w 7350749"/>
              <a:gd name="connsiteY17" fmla="*/ 316572 h 2104332"/>
              <a:gd name="connsiteX18" fmla="*/ 6889410 w 7350749"/>
              <a:gd name="connsiteY18" fmla="*/ 1135066 h 2104332"/>
              <a:gd name="connsiteX19" fmla="*/ 7350749 w 7350749"/>
              <a:gd name="connsiteY19" fmla="*/ 1827739 h 2104332"/>
              <a:gd name="connsiteX0" fmla="*/ 0 w 7350749"/>
              <a:gd name="connsiteY0" fmla="*/ 983982 h 2104332"/>
              <a:gd name="connsiteX1" fmla="*/ 472844 w 7350749"/>
              <a:gd name="connsiteY1" fmla="*/ 1544969 h 2104332"/>
              <a:gd name="connsiteX2" fmla="*/ 725093 w 7350749"/>
              <a:gd name="connsiteY2" fmla="*/ 1544969 h 2104332"/>
              <a:gd name="connsiteX3" fmla="*/ 709327 w 7350749"/>
              <a:gd name="connsiteY3" fmla="*/ 1087769 h 2104332"/>
              <a:gd name="connsiteX4" fmla="*/ 1335990 w 7350749"/>
              <a:gd name="connsiteY4" fmla="*/ 622806 h 2104332"/>
              <a:gd name="connsiteX5" fmla="*/ 1627340 w 7350749"/>
              <a:gd name="connsiteY5" fmla="*/ 1141962 h 2104332"/>
              <a:gd name="connsiteX6" fmla="*/ 1984295 w 7350749"/>
              <a:gd name="connsiteY6" fmla="*/ 2096983 h 2104332"/>
              <a:gd name="connsiteX7" fmla="*/ 2779865 w 7350749"/>
              <a:gd name="connsiteY7" fmla="*/ 1322938 h 2104332"/>
              <a:gd name="connsiteX8" fmla="*/ 3389465 w 7350749"/>
              <a:gd name="connsiteY8" fmla="*/ 635324 h 2104332"/>
              <a:gd name="connsiteX9" fmla="*/ 4004320 w 7350749"/>
              <a:gd name="connsiteY9" fmla="*/ 1119300 h 2104332"/>
              <a:gd name="connsiteX10" fmla="*/ 4619175 w 7350749"/>
              <a:gd name="connsiteY10" fmla="*/ 1182362 h 2104332"/>
              <a:gd name="connsiteX11" fmla="*/ 4855658 w 7350749"/>
              <a:gd name="connsiteY11" fmla="*/ 472914 h 2104332"/>
              <a:gd name="connsiteX12" fmla="*/ 5202499 w 7350749"/>
              <a:gd name="connsiteY12" fmla="*/ 488679 h 2104332"/>
              <a:gd name="connsiteX13" fmla="*/ 5375920 w 7350749"/>
              <a:gd name="connsiteY13" fmla="*/ 1213893 h 2104332"/>
              <a:gd name="connsiteX14" fmla="*/ 6416444 w 7350749"/>
              <a:gd name="connsiteY14" fmla="*/ 1119300 h 2104332"/>
              <a:gd name="connsiteX15" fmla="*/ 7236251 w 7350749"/>
              <a:gd name="connsiteY15" fmla="*/ 204900 h 2104332"/>
              <a:gd name="connsiteX16" fmla="*/ 6846712 w 7350749"/>
              <a:gd name="connsiteY16" fmla="*/ 4547 h 2104332"/>
              <a:gd name="connsiteX17" fmla="*/ 6442720 w 7350749"/>
              <a:gd name="connsiteY17" fmla="*/ 316572 h 2104332"/>
              <a:gd name="connsiteX18" fmla="*/ 6889411 w 7350749"/>
              <a:gd name="connsiteY18" fmla="*/ 1179112 h 2104332"/>
              <a:gd name="connsiteX19" fmla="*/ 7350749 w 7350749"/>
              <a:gd name="connsiteY19" fmla="*/ 1827739 h 2104332"/>
              <a:gd name="connsiteX0" fmla="*/ 0 w 7350749"/>
              <a:gd name="connsiteY0" fmla="*/ 983982 h 2104332"/>
              <a:gd name="connsiteX1" fmla="*/ 472844 w 7350749"/>
              <a:gd name="connsiteY1" fmla="*/ 1544969 h 2104332"/>
              <a:gd name="connsiteX2" fmla="*/ 725093 w 7350749"/>
              <a:gd name="connsiteY2" fmla="*/ 1544969 h 2104332"/>
              <a:gd name="connsiteX3" fmla="*/ 709327 w 7350749"/>
              <a:gd name="connsiteY3" fmla="*/ 1087769 h 2104332"/>
              <a:gd name="connsiteX4" fmla="*/ 1335990 w 7350749"/>
              <a:gd name="connsiteY4" fmla="*/ 622806 h 2104332"/>
              <a:gd name="connsiteX5" fmla="*/ 1627340 w 7350749"/>
              <a:gd name="connsiteY5" fmla="*/ 1141962 h 2104332"/>
              <a:gd name="connsiteX6" fmla="*/ 1984295 w 7350749"/>
              <a:gd name="connsiteY6" fmla="*/ 2096983 h 2104332"/>
              <a:gd name="connsiteX7" fmla="*/ 2779865 w 7350749"/>
              <a:gd name="connsiteY7" fmla="*/ 1322938 h 2104332"/>
              <a:gd name="connsiteX8" fmla="*/ 3389465 w 7350749"/>
              <a:gd name="connsiteY8" fmla="*/ 635324 h 2104332"/>
              <a:gd name="connsiteX9" fmla="*/ 4004320 w 7350749"/>
              <a:gd name="connsiteY9" fmla="*/ 1119300 h 2104332"/>
              <a:gd name="connsiteX10" fmla="*/ 4619175 w 7350749"/>
              <a:gd name="connsiteY10" fmla="*/ 1182362 h 2104332"/>
              <a:gd name="connsiteX11" fmla="*/ 4855658 w 7350749"/>
              <a:gd name="connsiteY11" fmla="*/ 472914 h 2104332"/>
              <a:gd name="connsiteX12" fmla="*/ 5202499 w 7350749"/>
              <a:gd name="connsiteY12" fmla="*/ 488679 h 2104332"/>
              <a:gd name="connsiteX13" fmla="*/ 5375920 w 7350749"/>
              <a:gd name="connsiteY13" fmla="*/ 1213893 h 2104332"/>
              <a:gd name="connsiteX14" fmla="*/ 6416444 w 7350749"/>
              <a:gd name="connsiteY14" fmla="*/ 1119300 h 2104332"/>
              <a:gd name="connsiteX15" fmla="*/ 7236251 w 7350749"/>
              <a:gd name="connsiteY15" fmla="*/ 204900 h 2104332"/>
              <a:gd name="connsiteX16" fmla="*/ 6846712 w 7350749"/>
              <a:gd name="connsiteY16" fmla="*/ 4547 h 2104332"/>
              <a:gd name="connsiteX17" fmla="*/ 6442720 w 7350749"/>
              <a:gd name="connsiteY17" fmla="*/ 316572 h 2104332"/>
              <a:gd name="connsiteX18" fmla="*/ 7350749 w 7350749"/>
              <a:gd name="connsiteY18" fmla="*/ 1827739 h 2104332"/>
              <a:gd name="connsiteX0" fmla="*/ 0 w 7334404"/>
              <a:gd name="connsiteY0" fmla="*/ 983982 h 2104332"/>
              <a:gd name="connsiteX1" fmla="*/ 472844 w 7334404"/>
              <a:gd name="connsiteY1" fmla="*/ 1544969 h 2104332"/>
              <a:gd name="connsiteX2" fmla="*/ 725093 w 7334404"/>
              <a:gd name="connsiteY2" fmla="*/ 1544969 h 2104332"/>
              <a:gd name="connsiteX3" fmla="*/ 709327 w 7334404"/>
              <a:gd name="connsiteY3" fmla="*/ 1087769 h 2104332"/>
              <a:gd name="connsiteX4" fmla="*/ 1335990 w 7334404"/>
              <a:gd name="connsiteY4" fmla="*/ 622806 h 2104332"/>
              <a:gd name="connsiteX5" fmla="*/ 1627340 w 7334404"/>
              <a:gd name="connsiteY5" fmla="*/ 1141962 h 2104332"/>
              <a:gd name="connsiteX6" fmla="*/ 1984295 w 7334404"/>
              <a:gd name="connsiteY6" fmla="*/ 2096983 h 2104332"/>
              <a:gd name="connsiteX7" fmla="*/ 2779865 w 7334404"/>
              <a:gd name="connsiteY7" fmla="*/ 1322938 h 2104332"/>
              <a:gd name="connsiteX8" fmla="*/ 3389465 w 7334404"/>
              <a:gd name="connsiteY8" fmla="*/ 635324 h 2104332"/>
              <a:gd name="connsiteX9" fmla="*/ 4004320 w 7334404"/>
              <a:gd name="connsiteY9" fmla="*/ 1119300 h 2104332"/>
              <a:gd name="connsiteX10" fmla="*/ 4619175 w 7334404"/>
              <a:gd name="connsiteY10" fmla="*/ 1182362 h 2104332"/>
              <a:gd name="connsiteX11" fmla="*/ 4855658 w 7334404"/>
              <a:gd name="connsiteY11" fmla="*/ 472914 h 2104332"/>
              <a:gd name="connsiteX12" fmla="*/ 5202499 w 7334404"/>
              <a:gd name="connsiteY12" fmla="*/ 488679 h 2104332"/>
              <a:gd name="connsiteX13" fmla="*/ 5375920 w 7334404"/>
              <a:gd name="connsiteY13" fmla="*/ 1213893 h 2104332"/>
              <a:gd name="connsiteX14" fmla="*/ 6416444 w 7334404"/>
              <a:gd name="connsiteY14" fmla="*/ 1119300 h 2104332"/>
              <a:gd name="connsiteX15" fmla="*/ 7236251 w 7334404"/>
              <a:gd name="connsiteY15" fmla="*/ 204900 h 2104332"/>
              <a:gd name="connsiteX16" fmla="*/ 6846712 w 7334404"/>
              <a:gd name="connsiteY16" fmla="*/ 4547 h 2104332"/>
              <a:gd name="connsiteX17" fmla="*/ 6442720 w 7334404"/>
              <a:gd name="connsiteY17" fmla="*/ 316572 h 2104332"/>
              <a:gd name="connsiteX18" fmla="*/ 7334404 w 7334404"/>
              <a:gd name="connsiteY18" fmla="*/ 1871785 h 2104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334404" h="2104332">
                <a:moveTo>
                  <a:pt x="0" y="983982"/>
                </a:moveTo>
                <a:cubicBezTo>
                  <a:pt x="538655" y="836837"/>
                  <a:pt x="351995" y="1451471"/>
                  <a:pt x="472844" y="1544969"/>
                </a:cubicBezTo>
                <a:cubicBezTo>
                  <a:pt x="593693" y="1638467"/>
                  <a:pt x="685679" y="1621169"/>
                  <a:pt x="725093" y="1544969"/>
                </a:cubicBezTo>
                <a:cubicBezTo>
                  <a:pt x="764507" y="1468769"/>
                  <a:pt x="607511" y="1241463"/>
                  <a:pt x="709327" y="1087769"/>
                </a:cubicBezTo>
                <a:cubicBezTo>
                  <a:pt x="811143" y="934075"/>
                  <a:pt x="1182988" y="613774"/>
                  <a:pt x="1335990" y="622806"/>
                </a:cubicBezTo>
                <a:cubicBezTo>
                  <a:pt x="1488992" y="631838"/>
                  <a:pt x="1611893" y="818478"/>
                  <a:pt x="1627340" y="1141962"/>
                </a:cubicBezTo>
                <a:cubicBezTo>
                  <a:pt x="1636437" y="1341621"/>
                  <a:pt x="1594088" y="2013480"/>
                  <a:pt x="1984295" y="2096983"/>
                </a:cubicBezTo>
                <a:cubicBezTo>
                  <a:pt x="2374502" y="2180486"/>
                  <a:pt x="2637359" y="1529189"/>
                  <a:pt x="2779865" y="1322938"/>
                </a:cubicBezTo>
                <a:cubicBezTo>
                  <a:pt x="2899511" y="1109067"/>
                  <a:pt x="3185389" y="669264"/>
                  <a:pt x="3389465" y="635324"/>
                </a:cubicBezTo>
                <a:cubicBezTo>
                  <a:pt x="3593541" y="601384"/>
                  <a:pt x="3799368" y="1028127"/>
                  <a:pt x="4004320" y="1119300"/>
                </a:cubicBezTo>
                <a:cubicBezTo>
                  <a:pt x="4209272" y="1210473"/>
                  <a:pt x="4477285" y="1290093"/>
                  <a:pt x="4619175" y="1182362"/>
                </a:cubicBezTo>
                <a:cubicBezTo>
                  <a:pt x="4761065" y="1074631"/>
                  <a:pt x="4758437" y="588528"/>
                  <a:pt x="4855658" y="472914"/>
                </a:cubicBezTo>
                <a:cubicBezTo>
                  <a:pt x="4952879" y="357300"/>
                  <a:pt x="5115789" y="365183"/>
                  <a:pt x="5202499" y="488679"/>
                </a:cubicBezTo>
                <a:cubicBezTo>
                  <a:pt x="5289209" y="612175"/>
                  <a:pt x="5173596" y="1108790"/>
                  <a:pt x="5375920" y="1213893"/>
                </a:cubicBezTo>
                <a:cubicBezTo>
                  <a:pt x="5578244" y="1318996"/>
                  <a:pt x="6106389" y="1287466"/>
                  <a:pt x="6416444" y="1119300"/>
                </a:cubicBezTo>
                <a:cubicBezTo>
                  <a:pt x="6726499" y="951134"/>
                  <a:pt x="7164540" y="390692"/>
                  <a:pt x="7236251" y="204900"/>
                </a:cubicBezTo>
                <a:cubicBezTo>
                  <a:pt x="7307962" y="19108"/>
                  <a:pt x="6978967" y="-14065"/>
                  <a:pt x="6846712" y="4547"/>
                </a:cubicBezTo>
                <a:cubicBezTo>
                  <a:pt x="6714457" y="23159"/>
                  <a:pt x="6361438" y="5366"/>
                  <a:pt x="6442720" y="316572"/>
                </a:cubicBezTo>
                <a:cubicBezTo>
                  <a:pt x="6524002" y="627778"/>
                  <a:pt x="7145231" y="1556959"/>
                  <a:pt x="7334404" y="1871785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5BF8432F-965E-49F1-B056-CB5B71D1A2EA}"/>
              </a:ext>
            </a:extLst>
          </p:cNvPr>
          <p:cNvSpPr/>
          <p:nvPr userDrawn="1"/>
        </p:nvSpPr>
        <p:spPr>
          <a:xfrm rot="5400000">
            <a:off x="2439602" y="-120979"/>
            <a:ext cx="352425" cy="52899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0C762E8F-41F4-4418-BEEF-7D09C1CDE243}"/>
              </a:ext>
            </a:extLst>
          </p:cNvPr>
          <p:cNvSpPr/>
          <p:nvPr userDrawn="1"/>
        </p:nvSpPr>
        <p:spPr>
          <a:xfrm rot="5400000">
            <a:off x="1581148" y="1215082"/>
            <a:ext cx="352425" cy="351472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B0E4140F-703F-4D32-B60E-C0D1739AAF5B}"/>
              </a:ext>
            </a:extLst>
          </p:cNvPr>
          <p:cNvSpPr/>
          <p:nvPr userDrawn="1"/>
        </p:nvSpPr>
        <p:spPr>
          <a:xfrm rot="5400000">
            <a:off x="2596191" y="4011856"/>
            <a:ext cx="352425" cy="8421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3386407" y="4963690"/>
            <a:ext cx="5419185" cy="1015623"/>
          </a:xfrm>
        </p:spPr>
        <p:txBody>
          <a:bodyPr>
            <a:noAutofit/>
          </a:bodyPr>
          <a:lstStyle/>
          <a:p>
            <a:pPr>
              <a:lnSpc>
                <a:spcPct val="200000"/>
              </a:lnSpc>
            </a:pPr>
            <a:r>
              <a:rPr lang="zh-CN" altLang="en-US" sz="1600" dirty="0">
                <a:solidFill>
                  <a:schemeClr val="accent1"/>
                </a:solidFill>
                <a:latin typeface="Arial"/>
                <a:ea typeface="微软雅黑"/>
              </a:rPr>
              <a:t>第</a:t>
            </a:r>
            <a:r>
              <a:rPr lang="en-US" altLang="zh-CN" sz="1600" dirty="0">
                <a:solidFill>
                  <a:schemeClr val="accent1"/>
                </a:solidFill>
                <a:latin typeface="Arial"/>
                <a:ea typeface="微软雅黑"/>
              </a:rPr>
              <a:t>24</a:t>
            </a:r>
            <a:r>
              <a:rPr lang="zh-CN" altLang="en-US" sz="1600" dirty="0">
                <a:solidFill>
                  <a:schemeClr val="accent1"/>
                </a:solidFill>
                <a:latin typeface="Arial"/>
                <a:ea typeface="微软雅黑"/>
              </a:rPr>
              <a:t>组：</a:t>
            </a:r>
            <a:endParaRPr lang="en-US" altLang="zh-CN" sz="1600" dirty="0">
              <a:solidFill>
                <a:schemeClr val="accent1"/>
              </a:solidFill>
              <a:latin typeface="Arial"/>
              <a:ea typeface="微软雅黑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accent1"/>
                </a:solidFill>
                <a:latin typeface="Arial"/>
                <a:ea typeface="微软雅黑"/>
              </a:rPr>
              <a:t>潘隆财</a:t>
            </a:r>
            <a:endParaRPr lang="en-US" altLang="zh-CN" sz="1600" dirty="0">
              <a:solidFill>
                <a:schemeClr val="accent1"/>
              </a:solidFill>
              <a:latin typeface="Arial"/>
              <a:ea typeface="微软雅黑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solidFill>
                  <a:schemeClr val="accent1"/>
                </a:solidFill>
                <a:latin typeface="Arial"/>
                <a:ea typeface="微软雅黑"/>
              </a:rPr>
              <a:t>王珺戈</a:t>
            </a:r>
            <a:endParaRPr lang="en-US" altLang="zh-CN" sz="1600" dirty="0">
              <a:solidFill>
                <a:schemeClr val="accent1"/>
              </a:solidFill>
              <a:latin typeface="Arial"/>
              <a:ea typeface="微软雅黑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4294967295"/>
          </p:nvPr>
        </p:nvSpPr>
        <p:spPr>
          <a:xfrm>
            <a:off x="4495800" y="4022725"/>
            <a:ext cx="7696200" cy="558800"/>
          </a:xfrm>
        </p:spPr>
        <p:txBody>
          <a:bodyPr>
            <a:noAutofit/>
          </a:bodyPr>
          <a:lstStyle/>
          <a:p>
            <a:r>
              <a:rPr lang="en-US" altLang="zh-CN" sz="4400" dirty="0" err="1">
                <a:solidFill>
                  <a:schemeClr val="accent4">
                    <a:lumMod val="75000"/>
                  </a:schemeClr>
                </a:solidFill>
              </a:rPr>
              <a:t>CausedByEating</a:t>
            </a:r>
            <a:endParaRPr lang="zh-CN" altLang="en-US" sz="4400" dirty="0">
              <a:solidFill>
                <a:schemeClr val="accent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D2B31D5-A210-4C70-8DBC-F98477477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功能介绍</a:t>
            </a:r>
            <a:r>
              <a:rPr lang="en-US" altLang="zh-CN" dirty="0"/>
              <a:t>-</a:t>
            </a:r>
            <a:r>
              <a:rPr lang="zh-CN" altLang="en-US" sz="2400" dirty="0"/>
              <a:t>核心界面展示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0F96DEE-9F83-42AB-9A6E-6CB7444942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089239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术亮点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CN" altLang="en-US" sz="1400" dirty="0"/>
              <a:t>仙灵之术、光芒万丈</a:t>
            </a:r>
            <a:endParaRPr lang="en-US" altLang="zh-CN" sz="14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30633" y="454056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18366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57451C9-B163-4AB9-A0A9-A7DABD33A8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术亮点</a:t>
            </a:r>
            <a:r>
              <a:rPr lang="en-US" altLang="zh-CN" dirty="0"/>
              <a:t>-</a:t>
            </a:r>
            <a:r>
              <a:rPr lang="zh-CN" altLang="en-US" sz="2400" dirty="0"/>
              <a:t>后端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D9300F0-DDA3-4533-AF49-82E68E13C7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2F6FD5FB-0E84-CD24-0006-695C16DA435D}"/>
              </a:ext>
            </a:extLst>
          </p:cNvPr>
          <p:cNvSpPr txBox="1"/>
          <p:nvPr/>
        </p:nvSpPr>
        <p:spPr>
          <a:xfrm>
            <a:off x="669924" y="1131016"/>
            <a:ext cx="1076870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400" dirty="0"/>
              <a:t>使用</a:t>
            </a:r>
            <a:r>
              <a:rPr lang="en-US" altLang="zh-CN" sz="2400" dirty="0" err="1"/>
              <a:t>springboot</a:t>
            </a:r>
            <a:r>
              <a:rPr lang="zh-CN" altLang="en-US" sz="2400" dirty="0"/>
              <a:t>框架，通过自动配置和约定优于配置的理念，大大减少了开发人员的工作量</a:t>
            </a:r>
            <a:endParaRPr lang="en-US" altLang="zh-C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400" dirty="0"/>
              <a:t>使用</a:t>
            </a:r>
            <a:r>
              <a:rPr lang="en-US" altLang="zh-CN" sz="2400" dirty="0" err="1"/>
              <a:t>MyBaits</a:t>
            </a:r>
            <a:r>
              <a:rPr lang="zh-CN" altLang="en-US" sz="2400" dirty="0"/>
              <a:t>简化数据库的操作</a:t>
            </a:r>
            <a:endParaRPr lang="en-US" altLang="zh-C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2400" dirty="0"/>
              <a:t>使用</a:t>
            </a:r>
            <a:r>
              <a:rPr lang="en-US" altLang="zh-CN" sz="2400" dirty="0" err="1"/>
              <a:t>lombok</a:t>
            </a:r>
            <a:r>
              <a:rPr lang="zh-CN" altLang="en-US" sz="2400" dirty="0"/>
              <a:t>简化实体类的开发</a:t>
            </a:r>
          </a:p>
        </p:txBody>
      </p:sp>
    </p:spTree>
    <p:extLst>
      <p:ext uri="{BB962C8B-B14F-4D97-AF65-F5344CB8AC3E}">
        <p14:creationId xmlns:p14="http://schemas.microsoft.com/office/powerpoint/2010/main" val="18270653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57451C9-B163-4AB9-A0A9-A7DABD33A8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术亮点</a:t>
            </a:r>
            <a:r>
              <a:rPr lang="en-US" altLang="zh-CN" dirty="0"/>
              <a:t>-</a:t>
            </a:r>
            <a:r>
              <a:rPr lang="zh-CN" altLang="en-US" sz="2400" dirty="0"/>
              <a:t>前端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D9300F0-DDA3-4533-AF49-82E68E13C7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203460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心得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CN" altLang="en-US" sz="1400" dirty="0"/>
              <a:t>悟道成仙、心静自然</a:t>
            </a:r>
            <a:endParaRPr lang="en-US" altLang="zh-CN" sz="14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30633" y="454056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10331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3AD0826-8813-414B-BE7E-B25EB9A1E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心得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B0E5486-2FFF-42FF-B212-9EDBE31B4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61875E69-0AD2-2E78-A92F-B990677E0E20}"/>
              </a:ext>
            </a:extLst>
          </p:cNvPr>
          <p:cNvSpPr txBox="1"/>
          <p:nvPr/>
        </p:nvSpPr>
        <p:spPr>
          <a:xfrm>
            <a:off x="669924" y="1233577"/>
            <a:ext cx="108505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对于各种异常错误的处理</a:t>
            </a:r>
          </a:p>
        </p:txBody>
      </p:sp>
    </p:spTree>
    <p:extLst>
      <p:ext uri="{BB962C8B-B14F-4D97-AF65-F5344CB8AC3E}">
        <p14:creationId xmlns:p14="http://schemas.microsoft.com/office/powerpoint/2010/main" val="2063852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6600" dirty="0">
                <a:solidFill>
                  <a:schemeClr val="accent4"/>
                </a:solidFill>
              </a:rPr>
              <a:t>THANKS</a:t>
            </a:r>
            <a:br>
              <a:rPr lang="en-US" altLang="zh-CN" dirty="0"/>
            </a:br>
            <a:endParaRPr lang="zh-CN" altLang="en-US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组合 71">
            <a:extLst>
              <a:ext uri="{FF2B5EF4-FFF2-40B4-BE49-F238E27FC236}">
                <a16:creationId xmlns:a16="http://schemas.microsoft.com/office/drawing/2014/main" id="{E640E043-CC10-4686-A515-43B721F7748C}"/>
              </a:ext>
            </a:extLst>
          </p:cNvPr>
          <p:cNvGrpSpPr/>
          <p:nvPr/>
        </p:nvGrpSpPr>
        <p:grpSpPr>
          <a:xfrm>
            <a:off x="219075" y="433388"/>
            <a:ext cx="11760200" cy="5995987"/>
            <a:chOff x="219075" y="433388"/>
            <a:chExt cx="11760200" cy="5995987"/>
          </a:xfrm>
        </p:grpSpPr>
        <p:sp>
          <p:nvSpPr>
            <p:cNvPr id="73" name="Line 6">
              <a:extLst>
                <a:ext uri="{FF2B5EF4-FFF2-40B4-BE49-F238E27FC236}">
                  <a16:creationId xmlns:a16="http://schemas.microsoft.com/office/drawing/2014/main" id="{577A847B-0BB5-4C37-9653-4C566E1225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6429375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4" name="Line 7">
              <a:extLst>
                <a:ext uri="{FF2B5EF4-FFF2-40B4-BE49-F238E27FC236}">
                  <a16:creationId xmlns:a16="http://schemas.microsoft.com/office/drawing/2014/main" id="{BA3DFF95-C8E8-47EC-BC9F-D1660F49D2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6000750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5" name="Line 8">
              <a:extLst>
                <a:ext uri="{FF2B5EF4-FFF2-40B4-BE49-F238E27FC236}">
                  <a16:creationId xmlns:a16="http://schemas.microsoft.com/office/drawing/2014/main" id="{91502A52-A6D0-4D2C-93F9-0871EEED42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557371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6" name="Line 9">
              <a:extLst>
                <a:ext uri="{FF2B5EF4-FFF2-40B4-BE49-F238E27FC236}">
                  <a16:creationId xmlns:a16="http://schemas.microsoft.com/office/drawing/2014/main" id="{8ABD7C63-C0F8-4979-A122-51CFABF146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514508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7" name="Line 10">
              <a:extLst>
                <a:ext uri="{FF2B5EF4-FFF2-40B4-BE49-F238E27FC236}">
                  <a16:creationId xmlns:a16="http://schemas.microsoft.com/office/drawing/2014/main" id="{4FFC0880-257C-4B66-87B7-B474F0BA7F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471646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8" name="Line 17">
              <a:extLst>
                <a:ext uri="{FF2B5EF4-FFF2-40B4-BE49-F238E27FC236}">
                  <a16:creationId xmlns:a16="http://schemas.microsoft.com/office/drawing/2014/main" id="{54F61A50-92E7-4412-B2D9-2AA8F529D5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1717675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79" name="Line 18">
              <a:extLst>
                <a:ext uri="{FF2B5EF4-FFF2-40B4-BE49-F238E27FC236}">
                  <a16:creationId xmlns:a16="http://schemas.microsoft.com/office/drawing/2014/main" id="{08AF9F9E-948E-4759-BD88-C2A57627A2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129063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80" name="Line 19">
              <a:extLst>
                <a:ext uri="{FF2B5EF4-FFF2-40B4-BE49-F238E27FC236}">
                  <a16:creationId xmlns:a16="http://schemas.microsoft.com/office/drawing/2014/main" id="{C4FA18D2-6397-4F07-877D-BBC7E23923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862013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  <p:sp>
          <p:nvSpPr>
            <p:cNvPr id="81" name="Line 20">
              <a:extLst>
                <a:ext uri="{FF2B5EF4-FFF2-40B4-BE49-F238E27FC236}">
                  <a16:creationId xmlns:a16="http://schemas.microsoft.com/office/drawing/2014/main" id="{DB8805D8-B817-4E76-A647-A7439B71AB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075" y="433388"/>
              <a:ext cx="11760200" cy="0"/>
            </a:xfrm>
            <a:prstGeom prst="line">
              <a:avLst/>
            </a:prstGeom>
            <a:noFill/>
            <a:ln w="4763" cap="flat">
              <a:solidFill>
                <a:srgbClr val="4276AA">
                  <a:lumMod val="20000"/>
                  <a:lumOff val="8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</a:endParaRPr>
            </a:p>
          </p:txBody>
        </p:sp>
      </p:grpSp>
      <p:sp>
        <p:nvSpPr>
          <p:cNvPr id="46" name="任意多边形 4">
            <a:extLst>
              <a:ext uri="{FF2B5EF4-FFF2-40B4-BE49-F238E27FC236}">
                <a16:creationId xmlns:a16="http://schemas.microsoft.com/office/drawing/2014/main" id="{0CAA4924-1F7C-4F16-A497-79B5CF64F95F}"/>
              </a:ext>
            </a:extLst>
          </p:cNvPr>
          <p:cNvSpPr/>
          <p:nvPr/>
        </p:nvSpPr>
        <p:spPr>
          <a:xfrm>
            <a:off x="0" y="2259602"/>
            <a:ext cx="12207766" cy="2453896"/>
          </a:xfrm>
          <a:custGeom>
            <a:avLst/>
            <a:gdLst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02166 w 13747532"/>
              <a:gd name="connsiteY8" fmla="*/ 1372569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716111 w 13747532"/>
              <a:gd name="connsiteY9" fmla="*/ 1514458 h 2643977"/>
              <a:gd name="connsiteX10" fmla="*/ 7945821 w 13747532"/>
              <a:gd name="connsiteY10" fmla="*/ 1325272 h 2643977"/>
              <a:gd name="connsiteX11" fmla="*/ 8560676 w 13747532"/>
              <a:gd name="connsiteY11" fmla="*/ 1388334 h 2643977"/>
              <a:gd name="connsiteX12" fmla="*/ 8797159 w 13747532"/>
              <a:gd name="connsiteY12" fmla="*/ 678886 h 2643977"/>
              <a:gd name="connsiteX13" fmla="*/ 9144000 w 13747532"/>
              <a:gd name="connsiteY13" fmla="*/ 694651 h 2643977"/>
              <a:gd name="connsiteX14" fmla="*/ 9317421 w 13747532"/>
              <a:gd name="connsiteY14" fmla="*/ 1419865 h 2643977"/>
              <a:gd name="connsiteX15" fmla="*/ 10357945 w 13747532"/>
              <a:gd name="connsiteY15" fmla="*/ 1325272 h 2643977"/>
              <a:gd name="connsiteX16" fmla="*/ 11177752 w 13747532"/>
              <a:gd name="connsiteY16" fmla="*/ 410872 h 2643977"/>
              <a:gd name="connsiteX17" fmla="*/ 10578663 w 13747532"/>
              <a:gd name="connsiteY17" fmla="*/ 969 h 2643977"/>
              <a:gd name="connsiteX18" fmla="*/ 10231821 w 13747532"/>
              <a:gd name="connsiteY18" fmla="*/ 332044 h 2643977"/>
              <a:gd name="connsiteX19" fmla="*/ 10830911 w 13747532"/>
              <a:gd name="connsiteY19" fmla="*/ 1341038 h 2643977"/>
              <a:gd name="connsiteX20" fmla="*/ 13747532 w 13747532"/>
              <a:gd name="connsiteY20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6084057 w 13747532"/>
              <a:gd name="connsiteY9" fmla="*/ 1129206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716111 w 13747532"/>
              <a:gd name="connsiteY10" fmla="*/ 1514458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6517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945821 w 13747532"/>
              <a:gd name="connsiteY11" fmla="*/ 1325272 h 2643977"/>
              <a:gd name="connsiteX12" fmla="*/ 8560676 w 13747532"/>
              <a:gd name="connsiteY12" fmla="*/ 1388334 h 2643977"/>
              <a:gd name="connsiteX13" fmla="*/ 8797159 w 13747532"/>
              <a:gd name="connsiteY13" fmla="*/ 678886 h 2643977"/>
              <a:gd name="connsiteX14" fmla="*/ 9144000 w 13747532"/>
              <a:gd name="connsiteY14" fmla="*/ 694651 h 2643977"/>
              <a:gd name="connsiteX15" fmla="*/ 9317421 w 13747532"/>
              <a:gd name="connsiteY15" fmla="*/ 1419865 h 2643977"/>
              <a:gd name="connsiteX16" fmla="*/ 10357945 w 13747532"/>
              <a:gd name="connsiteY16" fmla="*/ 1325272 h 2643977"/>
              <a:gd name="connsiteX17" fmla="*/ 11177752 w 13747532"/>
              <a:gd name="connsiteY17" fmla="*/ 410872 h 2643977"/>
              <a:gd name="connsiteX18" fmla="*/ 10578663 w 13747532"/>
              <a:gd name="connsiteY18" fmla="*/ 969 h 2643977"/>
              <a:gd name="connsiteX19" fmla="*/ 10231821 w 13747532"/>
              <a:gd name="connsiteY19" fmla="*/ 332044 h 2643977"/>
              <a:gd name="connsiteX20" fmla="*/ 10830911 w 13747532"/>
              <a:gd name="connsiteY20" fmla="*/ 1341038 h 2643977"/>
              <a:gd name="connsiteX21" fmla="*/ 13747532 w 13747532"/>
              <a:gd name="connsiteY21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7229366 w 13747532"/>
              <a:gd name="connsiteY11" fmla="*/ 19353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6163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945821 w 13747532"/>
              <a:gd name="connsiteY12" fmla="*/ 1325272 h 2643977"/>
              <a:gd name="connsiteX13" fmla="*/ 8560676 w 13747532"/>
              <a:gd name="connsiteY13" fmla="*/ 1388334 h 2643977"/>
              <a:gd name="connsiteX14" fmla="*/ 8797159 w 13747532"/>
              <a:gd name="connsiteY14" fmla="*/ 678886 h 2643977"/>
              <a:gd name="connsiteX15" fmla="*/ 9144000 w 13747532"/>
              <a:gd name="connsiteY15" fmla="*/ 694651 h 2643977"/>
              <a:gd name="connsiteX16" fmla="*/ 9317421 w 13747532"/>
              <a:gd name="connsiteY16" fmla="*/ 1419865 h 2643977"/>
              <a:gd name="connsiteX17" fmla="*/ 10357945 w 13747532"/>
              <a:gd name="connsiteY17" fmla="*/ 1325272 h 2643977"/>
              <a:gd name="connsiteX18" fmla="*/ 11177752 w 13747532"/>
              <a:gd name="connsiteY18" fmla="*/ 410872 h 2643977"/>
              <a:gd name="connsiteX19" fmla="*/ 10578663 w 13747532"/>
              <a:gd name="connsiteY19" fmla="*/ 969 h 2643977"/>
              <a:gd name="connsiteX20" fmla="*/ 10231821 w 13747532"/>
              <a:gd name="connsiteY20" fmla="*/ 332044 h 2643977"/>
              <a:gd name="connsiteX21" fmla="*/ 10830911 w 13747532"/>
              <a:gd name="connsiteY21" fmla="*/ 1341038 h 2643977"/>
              <a:gd name="connsiteX22" fmla="*/ 13747532 w 13747532"/>
              <a:gd name="connsiteY22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803 h 2643977"/>
              <a:gd name="connsiteX1" fmla="*/ 1182414 w 13747532"/>
              <a:gd name="connsiteY1" fmla="*/ 2633810 h 2643977"/>
              <a:gd name="connsiteX2" fmla="*/ 1986456 w 13747532"/>
              <a:gd name="connsiteY2" fmla="*/ 741948 h 2643977"/>
              <a:gd name="connsiteX3" fmla="*/ 3373821 w 13747532"/>
              <a:gd name="connsiteY3" fmla="*/ 1372569 h 2643977"/>
              <a:gd name="connsiteX4" fmla="*/ 4382814 w 13747532"/>
              <a:gd name="connsiteY4" fmla="*/ 1309507 h 2643977"/>
              <a:gd name="connsiteX5" fmla="*/ 4414345 w 13747532"/>
              <a:gd name="connsiteY5" fmla="*/ 1750941 h 2643977"/>
              <a:gd name="connsiteX6" fmla="*/ 4666594 w 13747532"/>
              <a:gd name="connsiteY6" fmla="*/ 1750941 h 2643977"/>
              <a:gd name="connsiteX7" fmla="*/ 4650828 w 13747532"/>
              <a:gd name="connsiteY7" fmla="*/ 1293741 h 2643977"/>
              <a:gd name="connsiteX8" fmla="*/ 5518791 w 13747532"/>
              <a:gd name="connsiteY8" fmla="*/ 790678 h 2643977"/>
              <a:gd name="connsiteX9" fmla="*/ 5575596 w 13747532"/>
              <a:gd name="connsiteY9" fmla="*/ 1445090 h 2643977"/>
              <a:gd name="connsiteX10" fmla="*/ 6197258 w 13747532"/>
              <a:gd name="connsiteY10" fmla="*/ 2312480 h 2643977"/>
              <a:gd name="connsiteX11" fmla="*/ 6721366 w 13747532"/>
              <a:gd name="connsiteY11" fmla="*/ 1528910 h 2643977"/>
              <a:gd name="connsiteX12" fmla="*/ 7330966 w 13747532"/>
              <a:gd name="connsiteY12" fmla="*/ 841296 h 2643977"/>
              <a:gd name="connsiteX13" fmla="*/ 7945821 w 13747532"/>
              <a:gd name="connsiteY13" fmla="*/ 1325272 h 2643977"/>
              <a:gd name="connsiteX14" fmla="*/ 8560676 w 13747532"/>
              <a:gd name="connsiteY14" fmla="*/ 1388334 h 2643977"/>
              <a:gd name="connsiteX15" fmla="*/ 8797159 w 13747532"/>
              <a:gd name="connsiteY15" fmla="*/ 678886 h 2643977"/>
              <a:gd name="connsiteX16" fmla="*/ 9144000 w 13747532"/>
              <a:gd name="connsiteY16" fmla="*/ 694651 h 2643977"/>
              <a:gd name="connsiteX17" fmla="*/ 9317421 w 13747532"/>
              <a:gd name="connsiteY17" fmla="*/ 1419865 h 2643977"/>
              <a:gd name="connsiteX18" fmla="*/ 10357945 w 13747532"/>
              <a:gd name="connsiteY18" fmla="*/ 1325272 h 2643977"/>
              <a:gd name="connsiteX19" fmla="*/ 11177752 w 13747532"/>
              <a:gd name="connsiteY19" fmla="*/ 410872 h 2643977"/>
              <a:gd name="connsiteX20" fmla="*/ 10578663 w 13747532"/>
              <a:gd name="connsiteY20" fmla="*/ 969 h 2643977"/>
              <a:gd name="connsiteX21" fmla="*/ 10231821 w 13747532"/>
              <a:gd name="connsiteY21" fmla="*/ 332044 h 2643977"/>
              <a:gd name="connsiteX22" fmla="*/ 10830911 w 13747532"/>
              <a:gd name="connsiteY22" fmla="*/ 1341038 h 2643977"/>
              <a:gd name="connsiteX23" fmla="*/ 13747532 w 13747532"/>
              <a:gd name="connsiteY23" fmla="*/ 190155 h 2643977"/>
              <a:gd name="connsiteX0" fmla="*/ 0 w 13747532"/>
              <a:gd name="connsiteY0" fmla="*/ 1356367 h 2643541"/>
              <a:gd name="connsiteX1" fmla="*/ 1182414 w 13747532"/>
              <a:gd name="connsiteY1" fmla="*/ 2633374 h 2643541"/>
              <a:gd name="connsiteX2" fmla="*/ 1986456 w 13747532"/>
              <a:gd name="connsiteY2" fmla="*/ 741512 h 2643541"/>
              <a:gd name="connsiteX3" fmla="*/ 3373821 w 13747532"/>
              <a:gd name="connsiteY3" fmla="*/ 1372133 h 2643541"/>
              <a:gd name="connsiteX4" fmla="*/ 4382814 w 13747532"/>
              <a:gd name="connsiteY4" fmla="*/ 1309071 h 2643541"/>
              <a:gd name="connsiteX5" fmla="*/ 4414345 w 13747532"/>
              <a:gd name="connsiteY5" fmla="*/ 1750505 h 2643541"/>
              <a:gd name="connsiteX6" fmla="*/ 4666594 w 13747532"/>
              <a:gd name="connsiteY6" fmla="*/ 1750505 h 2643541"/>
              <a:gd name="connsiteX7" fmla="*/ 4650828 w 13747532"/>
              <a:gd name="connsiteY7" fmla="*/ 1293305 h 2643541"/>
              <a:gd name="connsiteX8" fmla="*/ 5518791 w 13747532"/>
              <a:gd name="connsiteY8" fmla="*/ 790242 h 2643541"/>
              <a:gd name="connsiteX9" fmla="*/ 5575596 w 13747532"/>
              <a:gd name="connsiteY9" fmla="*/ 1444654 h 2643541"/>
              <a:gd name="connsiteX10" fmla="*/ 6197258 w 13747532"/>
              <a:gd name="connsiteY10" fmla="*/ 2312044 h 2643541"/>
              <a:gd name="connsiteX11" fmla="*/ 6721366 w 13747532"/>
              <a:gd name="connsiteY11" fmla="*/ 1528474 h 2643541"/>
              <a:gd name="connsiteX12" fmla="*/ 7330966 w 13747532"/>
              <a:gd name="connsiteY12" fmla="*/ 840860 h 2643541"/>
              <a:gd name="connsiteX13" fmla="*/ 7945821 w 13747532"/>
              <a:gd name="connsiteY13" fmla="*/ 1324836 h 2643541"/>
              <a:gd name="connsiteX14" fmla="*/ 8560676 w 13747532"/>
              <a:gd name="connsiteY14" fmla="*/ 1387898 h 2643541"/>
              <a:gd name="connsiteX15" fmla="*/ 8797159 w 13747532"/>
              <a:gd name="connsiteY15" fmla="*/ 678450 h 2643541"/>
              <a:gd name="connsiteX16" fmla="*/ 9144000 w 13747532"/>
              <a:gd name="connsiteY16" fmla="*/ 694215 h 2643541"/>
              <a:gd name="connsiteX17" fmla="*/ 9317421 w 13747532"/>
              <a:gd name="connsiteY17" fmla="*/ 1419429 h 2643541"/>
              <a:gd name="connsiteX18" fmla="*/ 10357945 w 13747532"/>
              <a:gd name="connsiteY18" fmla="*/ 1324836 h 2643541"/>
              <a:gd name="connsiteX19" fmla="*/ 11177752 w 13747532"/>
              <a:gd name="connsiteY19" fmla="*/ 410436 h 2643541"/>
              <a:gd name="connsiteX20" fmla="*/ 10578663 w 13747532"/>
              <a:gd name="connsiteY20" fmla="*/ 533 h 2643541"/>
              <a:gd name="connsiteX21" fmla="*/ 10441371 w 13747532"/>
              <a:gd name="connsiteY21" fmla="*/ 484008 h 2643541"/>
              <a:gd name="connsiteX22" fmla="*/ 10830911 w 13747532"/>
              <a:gd name="connsiteY22" fmla="*/ 1340602 h 2643541"/>
              <a:gd name="connsiteX23" fmla="*/ 13747532 w 13747532"/>
              <a:gd name="connsiteY23" fmla="*/ 189719 h 2643541"/>
              <a:gd name="connsiteX0" fmla="*/ 0 w 13747532"/>
              <a:gd name="connsiteY0" fmla="*/ 1166723 h 2453897"/>
              <a:gd name="connsiteX1" fmla="*/ 1182414 w 13747532"/>
              <a:gd name="connsiteY1" fmla="*/ 2443730 h 2453897"/>
              <a:gd name="connsiteX2" fmla="*/ 1986456 w 13747532"/>
              <a:gd name="connsiteY2" fmla="*/ 551868 h 2453897"/>
              <a:gd name="connsiteX3" fmla="*/ 3373821 w 13747532"/>
              <a:gd name="connsiteY3" fmla="*/ 1182489 h 2453897"/>
              <a:gd name="connsiteX4" fmla="*/ 4382814 w 13747532"/>
              <a:gd name="connsiteY4" fmla="*/ 1119427 h 2453897"/>
              <a:gd name="connsiteX5" fmla="*/ 4414345 w 13747532"/>
              <a:gd name="connsiteY5" fmla="*/ 1560861 h 2453897"/>
              <a:gd name="connsiteX6" fmla="*/ 4666594 w 13747532"/>
              <a:gd name="connsiteY6" fmla="*/ 1560861 h 2453897"/>
              <a:gd name="connsiteX7" fmla="*/ 4650828 w 13747532"/>
              <a:gd name="connsiteY7" fmla="*/ 1103661 h 2453897"/>
              <a:gd name="connsiteX8" fmla="*/ 5518791 w 13747532"/>
              <a:gd name="connsiteY8" fmla="*/ 600598 h 2453897"/>
              <a:gd name="connsiteX9" fmla="*/ 5575596 w 13747532"/>
              <a:gd name="connsiteY9" fmla="*/ 1255010 h 2453897"/>
              <a:gd name="connsiteX10" fmla="*/ 6197258 w 13747532"/>
              <a:gd name="connsiteY10" fmla="*/ 2122400 h 2453897"/>
              <a:gd name="connsiteX11" fmla="*/ 6721366 w 13747532"/>
              <a:gd name="connsiteY11" fmla="*/ 1338830 h 2453897"/>
              <a:gd name="connsiteX12" fmla="*/ 7330966 w 13747532"/>
              <a:gd name="connsiteY12" fmla="*/ 651216 h 2453897"/>
              <a:gd name="connsiteX13" fmla="*/ 7945821 w 13747532"/>
              <a:gd name="connsiteY13" fmla="*/ 1135192 h 2453897"/>
              <a:gd name="connsiteX14" fmla="*/ 8560676 w 13747532"/>
              <a:gd name="connsiteY14" fmla="*/ 1198254 h 2453897"/>
              <a:gd name="connsiteX15" fmla="*/ 8797159 w 13747532"/>
              <a:gd name="connsiteY15" fmla="*/ 488806 h 2453897"/>
              <a:gd name="connsiteX16" fmla="*/ 9144000 w 13747532"/>
              <a:gd name="connsiteY16" fmla="*/ 504571 h 2453897"/>
              <a:gd name="connsiteX17" fmla="*/ 9317421 w 13747532"/>
              <a:gd name="connsiteY17" fmla="*/ 1229785 h 2453897"/>
              <a:gd name="connsiteX18" fmla="*/ 10357945 w 13747532"/>
              <a:gd name="connsiteY18" fmla="*/ 1135192 h 2453897"/>
              <a:gd name="connsiteX19" fmla="*/ 11177752 w 13747532"/>
              <a:gd name="connsiteY19" fmla="*/ 220792 h 2453897"/>
              <a:gd name="connsiteX20" fmla="*/ 10864413 w 13747532"/>
              <a:gd name="connsiteY20" fmla="*/ 153789 h 2453897"/>
              <a:gd name="connsiteX21" fmla="*/ 10441371 w 13747532"/>
              <a:gd name="connsiteY21" fmla="*/ 294364 h 2453897"/>
              <a:gd name="connsiteX22" fmla="*/ 10830911 w 13747532"/>
              <a:gd name="connsiteY22" fmla="*/ 1150958 h 2453897"/>
              <a:gd name="connsiteX23" fmla="*/ 13747532 w 13747532"/>
              <a:gd name="connsiteY23" fmla="*/ 75 h 2453897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864413 w 13747532"/>
              <a:gd name="connsiteY20" fmla="*/ 15378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212771 w 13747532"/>
              <a:gd name="connsiteY21" fmla="*/ 2562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75596 w 13747532"/>
              <a:gd name="connsiteY9" fmla="*/ 1255009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57390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197258 w 13747532"/>
              <a:gd name="connsiteY10" fmla="*/ 21223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49403 w 13747532"/>
              <a:gd name="connsiteY9" fmla="*/ 1271677 h 2453896"/>
              <a:gd name="connsiteX10" fmla="*/ 60781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6078196 w 13747532"/>
              <a:gd name="connsiteY9" fmla="*/ 2112874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668621 w 13747532"/>
              <a:gd name="connsiteY9" fmla="*/ 210334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897221 w 13747532"/>
              <a:gd name="connsiteY9" fmla="*/ 2198599 h 2453896"/>
              <a:gd name="connsiteX10" fmla="*/ 6721366 w 13747532"/>
              <a:gd name="connsiteY10" fmla="*/ 1338829 h 2453896"/>
              <a:gd name="connsiteX11" fmla="*/ 7330966 w 13747532"/>
              <a:gd name="connsiteY11" fmla="*/ 651215 h 2453896"/>
              <a:gd name="connsiteX12" fmla="*/ 7945821 w 13747532"/>
              <a:gd name="connsiteY12" fmla="*/ 1135191 h 2453896"/>
              <a:gd name="connsiteX13" fmla="*/ 8560676 w 13747532"/>
              <a:gd name="connsiteY13" fmla="*/ 1198253 h 2453896"/>
              <a:gd name="connsiteX14" fmla="*/ 8797159 w 13747532"/>
              <a:gd name="connsiteY14" fmla="*/ 488805 h 2453896"/>
              <a:gd name="connsiteX15" fmla="*/ 9144000 w 13747532"/>
              <a:gd name="connsiteY15" fmla="*/ 504570 h 2453896"/>
              <a:gd name="connsiteX16" fmla="*/ 9317421 w 13747532"/>
              <a:gd name="connsiteY16" fmla="*/ 1229784 h 2453896"/>
              <a:gd name="connsiteX17" fmla="*/ 10357945 w 13747532"/>
              <a:gd name="connsiteY17" fmla="*/ 1135191 h 2453896"/>
              <a:gd name="connsiteX18" fmla="*/ 11177752 w 13747532"/>
              <a:gd name="connsiteY18" fmla="*/ 220791 h 2453896"/>
              <a:gd name="connsiteX19" fmla="*/ 10788213 w 13747532"/>
              <a:gd name="connsiteY19" fmla="*/ 20438 h 2453896"/>
              <a:gd name="connsiteX20" fmla="*/ 10384221 w 13747532"/>
              <a:gd name="connsiteY20" fmla="*/ 332463 h 2453896"/>
              <a:gd name="connsiteX21" fmla="*/ 10830911 w 13747532"/>
              <a:gd name="connsiteY21" fmla="*/ 1150957 h 2453896"/>
              <a:gd name="connsiteX22" fmla="*/ 13747532 w 13747532"/>
              <a:gd name="connsiteY22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702191 w 13747532"/>
              <a:gd name="connsiteY9" fmla="*/ 13959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97221 w 13747532"/>
              <a:gd name="connsiteY10" fmla="*/ 2198599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859121 w 13747532"/>
              <a:gd name="connsiteY10" fmla="*/ 19604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21216 w 13747532"/>
              <a:gd name="connsiteY9" fmla="*/ 1243578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518791 w 13747532"/>
              <a:gd name="connsiteY8" fmla="*/ 6005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  <a:gd name="connsiteX0" fmla="*/ 0 w 13747532"/>
              <a:gd name="connsiteY0" fmla="*/ 1166722 h 2453896"/>
              <a:gd name="connsiteX1" fmla="*/ 1182414 w 13747532"/>
              <a:gd name="connsiteY1" fmla="*/ 2443729 h 2453896"/>
              <a:gd name="connsiteX2" fmla="*/ 1986456 w 13747532"/>
              <a:gd name="connsiteY2" fmla="*/ 551867 h 2453896"/>
              <a:gd name="connsiteX3" fmla="*/ 3373821 w 13747532"/>
              <a:gd name="connsiteY3" fmla="*/ 1182488 h 2453896"/>
              <a:gd name="connsiteX4" fmla="*/ 4382814 w 13747532"/>
              <a:gd name="connsiteY4" fmla="*/ 1119426 h 2453896"/>
              <a:gd name="connsiteX5" fmla="*/ 4414345 w 13747532"/>
              <a:gd name="connsiteY5" fmla="*/ 1560860 h 2453896"/>
              <a:gd name="connsiteX6" fmla="*/ 4666594 w 13747532"/>
              <a:gd name="connsiteY6" fmla="*/ 1560860 h 2453896"/>
              <a:gd name="connsiteX7" fmla="*/ 4650828 w 13747532"/>
              <a:gd name="connsiteY7" fmla="*/ 1103660 h 2453896"/>
              <a:gd name="connsiteX8" fmla="*/ 5277491 w 13747532"/>
              <a:gd name="connsiteY8" fmla="*/ 638697 h 2453896"/>
              <a:gd name="connsiteX9" fmla="*/ 5568841 w 13747532"/>
              <a:gd name="connsiteY9" fmla="*/ 1157853 h 2453896"/>
              <a:gd name="connsiteX10" fmla="*/ 5925796 w 13747532"/>
              <a:gd name="connsiteY10" fmla="*/ 2112874 h 2453896"/>
              <a:gd name="connsiteX11" fmla="*/ 6721366 w 13747532"/>
              <a:gd name="connsiteY11" fmla="*/ 1338829 h 2453896"/>
              <a:gd name="connsiteX12" fmla="*/ 7330966 w 13747532"/>
              <a:gd name="connsiteY12" fmla="*/ 651215 h 2453896"/>
              <a:gd name="connsiteX13" fmla="*/ 7945821 w 13747532"/>
              <a:gd name="connsiteY13" fmla="*/ 1135191 h 2453896"/>
              <a:gd name="connsiteX14" fmla="*/ 8560676 w 13747532"/>
              <a:gd name="connsiteY14" fmla="*/ 1198253 h 2453896"/>
              <a:gd name="connsiteX15" fmla="*/ 8797159 w 13747532"/>
              <a:gd name="connsiteY15" fmla="*/ 488805 h 2453896"/>
              <a:gd name="connsiteX16" fmla="*/ 9144000 w 13747532"/>
              <a:gd name="connsiteY16" fmla="*/ 504570 h 2453896"/>
              <a:gd name="connsiteX17" fmla="*/ 9317421 w 13747532"/>
              <a:gd name="connsiteY17" fmla="*/ 1229784 h 2453896"/>
              <a:gd name="connsiteX18" fmla="*/ 10357945 w 13747532"/>
              <a:gd name="connsiteY18" fmla="*/ 1135191 h 2453896"/>
              <a:gd name="connsiteX19" fmla="*/ 11177752 w 13747532"/>
              <a:gd name="connsiteY19" fmla="*/ 220791 h 2453896"/>
              <a:gd name="connsiteX20" fmla="*/ 10788213 w 13747532"/>
              <a:gd name="connsiteY20" fmla="*/ 20438 h 2453896"/>
              <a:gd name="connsiteX21" fmla="*/ 10384221 w 13747532"/>
              <a:gd name="connsiteY21" fmla="*/ 332463 h 2453896"/>
              <a:gd name="connsiteX22" fmla="*/ 10830911 w 13747532"/>
              <a:gd name="connsiteY22" fmla="*/ 1150957 h 2453896"/>
              <a:gd name="connsiteX23" fmla="*/ 13747532 w 13747532"/>
              <a:gd name="connsiteY23" fmla="*/ 74 h 245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747532" h="2453896">
                <a:moveTo>
                  <a:pt x="0" y="1166722"/>
                </a:moveTo>
                <a:cubicBezTo>
                  <a:pt x="425669" y="1856463"/>
                  <a:pt x="851338" y="2546205"/>
                  <a:pt x="1182414" y="2443729"/>
                </a:cubicBezTo>
                <a:cubicBezTo>
                  <a:pt x="1513490" y="2341253"/>
                  <a:pt x="1621222" y="762074"/>
                  <a:pt x="1986456" y="551867"/>
                </a:cubicBezTo>
                <a:cubicBezTo>
                  <a:pt x="2351690" y="341660"/>
                  <a:pt x="2974428" y="1087895"/>
                  <a:pt x="3373821" y="1182488"/>
                </a:cubicBezTo>
                <a:cubicBezTo>
                  <a:pt x="3773214" y="1277081"/>
                  <a:pt x="4209394" y="1056364"/>
                  <a:pt x="4382814" y="1119426"/>
                </a:cubicBezTo>
                <a:cubicBezTo>
                  <a:pt x="4556234" y="1182488"/>
                  <a:pt x="4367048" y="1487288"/>
                  <a:pt x="4414345" y="1560860"/>
                </a:cubicBezTo>
                <a:cubicBezTo>
                  <a:pt x="4461642" y="1634432"/>
                  <a:pt x="4627180" y="1637060"/>
                  <a:pt x="4666594" y="1560860"/>
                </a:cubicBezTo>
                <a:cubicBezTo>
                  <a:pt x="4706008" y="1484660"/>
                  <a:pt x="4549012" y="1257354"/>
                  <a:pt x="4650828" y="1103660"/>
                </a:cubicBezTo>
                <a:cubicBezTo>
                  <a:pt x="4752644" y="949966"/>
                  <a:pt x="5124489" y="629665"/>
                  <a:pt x="5277491" y="638697"/>
                </a:cubicBezTo>
                <a:cubicBezTo>
                  <a:pt x="5430493" y="647729"/>
                  <a:pt x="5553394" y="834369"/>
                  <a:pt x="5568841" y="1157853"/>
                </a:cubicBezTo>
                <a:cubicBezTo>
                  <a:pt x="5577938" y="1357512"/>
                  <a:pt x="5535589" y="2029371"/>
                  <a:pt x="5925796" y="2112874"/>
                </a:cubicBezTo>
                <a:cubicBezTo>
                  <a:pt x="6316003" y="2196377"/>
                  <a:pt x="6578860" y="1545080"/>
                  <a:pt x="6721366" y="1338829"/>
                </a:cubicBezTo>
                <a:cubicBezTo>
                  <a:pt x="6841012" y="1124958"/>
                  <a:pt x="7126890" y="685155"/>
                  <a:pt x="7330966" y="651215"/>
                </a:cubicBezTo>
                <a:cubicBezTo>
                  <a:pt x="7535042" y="617275"/>
                  <a:pt x="7740869" y="1044018"/>
                  <a:pt x="7945821" y="1135191"/>
                </a:cubicBezTo>
                <a:cubicBezTo>
                  <a:pt x="8150773" y="1226364"/>
                  <a:pt x="8418786" y="1305984"/>
                  <a:pt x="8560676" y="1198253"/>
                </a:cubicBezTo>
                <a:cubicBezTo>
                  <a:pt x="8702566" y="1090522"/>
                  <a:pt x="8699938" y="604419"/>
                  <a:pt x="8797159" y="488805"/>
                </a:cubicBezTo>
                <a:cubicBezTo>
                  <a:pt x="8894380" y="373191"/>
                  <a:pt x="9057290" y="381074"/>
                  <a:pt x="9144000" y="504570"/>
                </a:cubicBezTo>
                <a:cubicBezTo>
                  <a:pt x="9230710" y="628066"/>
                  <a:pt x="9115097" y="1124681"/>
                  <a:pt x="9317421" y="1229784"/>
                </a:cubicBezTo>
                <a:cubicBezTo>
                  <a:pt x="9519745" y="1334887"/>
                  <a:pt x="10047890" y="1303357"/>
                  <a:pt x="10357945" y="1135191"/>
                </a:cubicBezTo>
                <a:cubicBezTo>
                  <a:pt x="10668000" y="967025"/>
                  <a:pt x="11106041" y="406583"/>
                  <a:pt x="11177752" y="220791"/>
                </a:cubicBezTo>
                <a:cubicBezTo>
                  <a:pt x="11249463" y="34999"/>
                  <a:pt x="10920468" y="1826"/>
                  <a:pt x="10788213" y="20438"/>
                </a:cubicBezTo>
                <a:cubicBezTo>
                  <a:pt x="10655958" y="39050"/>
                  <a:pt x="10491405" y="144043"/>
                  <a:pt x="10384221" y="332463"/>
                </a:cubicBezTo>
                <a:cubicBezTo>
                  <a:pt x="10277037" y="520883"/>
                  <a:pt x="10270359" y="1206355"/>
                  <a:pt x="10830911" y="1150957"/>
                </a:cubicBezTo>
                <a:cubicBezTo>
                  <a:pt x="11391463" y="1095559"/>
                  <a:pt x="13405946" y="-10436"/>
                  <a:pt x="13747532" y="74"/>
                </a:cubicBezTo>
              </a:path>
            </a:pathLst>
          </a:custGeom>
          <a:noFill/>
          <a:ln w="76200"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26000">
                  <a:schemeClr val="accent4"/>
                </a:gs>
                <a:gs pos="100000">
                  <a:schemeClr val="accent5"/>
                </a:gs>
                <a:gs pos="47000">
                  <a:schemeClr val="accent4"/>
                </a:gs>
                <a:gs pos="73000">
                  <a:schemeClr val="accent5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íŝľíḍe">
            <a:extLst>
              <a:ext uri="{FF2B5EF4-FFF2-40B4-BE49-F238E27FC236}">
                <a16:creationId xmlns:a16="http://schemas.microsoft.com/office/drawing/2014/main" id="{4ED13045-6622-42D8-A4EF-A6D69CEBC458}"/>
              </a:ext>
            </a:extLst>
          </p:cNvPr>
          <p:cNvSpPr/>
          <p:nvPr/>
        </p:nvSpPr>
        <p:spPr>
          <a:xfrm>
            <a:off x="741345" y="2590801"/>
            <a:ext cx="1657350" cy="16573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txBody>
          <a:bodyPr rot="0" spcFirstLastPara="0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buSzPct val="25000"/>
            </a:pPr>
            <a:r>
              <a:rPr lang="en-US" altLang="zh-CN" b="1" i="1"/>
              <a:t>CONTENTS</a:t>
            </a:r>
            <a:endParaRPr lang="zh-CN" altLang="en-US" b="1" i="1" dirty="0"/>
          </a:p>
        </p:txBody>
      </p:sp>
      <p:sp>
        <p:nvSpPr>
          <p:cNvPr id="48" name="iṩlíḑe">
            <a:extLst>
              <a:ext uri="{FF2B5EF4-FFF2-40B4-BE49-F238E27FC236}">
                <a16:creationId xmlns:a16="http://schemas.microsoft.com/office/drawing/2014/main" id="{4779CE29-7F04-4265-A239-F566D1BC0F10}"/>
              </a:ext>
            </a:extLst>
          </p:cNvPr>
          <p:cNvSpPr/>
          <p:nvPr/>
        </p:nvSpPr>
        <p:spPr>
          <a:xfrm>
            <a:off x="3762375" y="3230387"/>
            <a:ext cx="152398" cy="152398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>
              <a:buSzPct val="25000"/>
            </a:pP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49" name="ïśliḋè">
            <a:extLst>
              <a:ext uri="{FF2B5EF4-FFF2-40B4-BE49-F238E27FC236}">
                <a16:creationId xmlns:a16="http://schemas.microsoft.com/office/drawing/2014/main" id="{BF46DFC3-CD45-4141-80AF-BBBDC58A1DAF}"/>
              </a:ext>
            </a:extLst>
          </p:cNvPr>
          <p:cNvSpPr/>
          <p:nvPr/>
        </p:nvSpPr>
        <p:spPr>
          <a:xfrm>
            <a:off x="3581399" y="2259602"/>
            <a:ext cx="514350" cy="5143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/>
          <a:p>
            <a:pPr algn="ctr">
              <a:buSzPct val="25000"/>
            </a:pPr>
            <a:r>
              <a:rPr lang="en-US" altLang="zh-CN" sz="1600" b="1">
                <a:solidFill>
                  <a:schemeClr val="bg1"/>
                </a:solidFill>
              </a:rPr>
              <a:t>01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50" name="ïśḻîḍé">
            <a:extLst>
              <a:ext uri="{FF2B5EF4-FFF2-40B4-BE49-F238E27FC236}">
                <a16:creationId xmlns:a16="http://schemas.microsoft.com/office/drawing/2014/main" id="{87291D0B-63D3-4AD5-9B3A-25F10858C9DF}"/>
              </a:ext>
            </a:extLst>
          </p:cNvPr>
          <p:cNvSpPr txBox="1"/>
          <p:nvPr/>
        </p:nvSpPr>
        <p:spPr bwMode="auto">
          <a:xfrm>
            <a:off x="2921175" y="1604651"/>
            <a:ext cx="1834797" cy="76053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zh-CN" altLang="en-US" sz="1600" b="1" dirty="0"/>
              <a:t>人员分工</a:t>
            </a:r>
            <a:endParaRPr lang="en-US" altLang="zh-CN" sz="1600" b="1" dirty="0"/>
          </a:p>
        </p:txBody>
      </p: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id="{28AE94B7-407B-4AA6-9C6D-403E472EFC35}"/>
              </a:ext>
            </a:extLst>
          </p:cNvPr>
          <p:cNvCxnSpPr>
            <a:stCxn id="48" idx="0"/>
            <a:endCxn id="49" idx="4"/>
          </p:cNvCxnSpPr>
          <p:nvPr/>
        </p:nvCxnSpPr>
        <p:spPr>
          <a:xfrm flipV="1">
            <a:off x="3838574" y="2773952"/>
            <a:ext cx="0" cy="456435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íş1íḓè">
            <a:extLst>
              <a:ext uri="{FF2B5EF4-FFF2-40B4-BE49-F238E27FC236}">
                <a16:creationId xmlns:a16="http://schemas.microsoft.com/office/drawing/2014/main" id="{9B5A972C-E2A0-4964-B6A9-577537DC6389}"/>
              </a:ext>
            </a:extLst>
          </p:cNvPr>
          <p:cNvSpPr/>
          <p:nvPr/>
        </p:nvSpPr>
        <p:spPr>
          <a:xfrm>
            <a:off x="6314057" y="2823990"/>
            <a:ext cx="152398" cy="152398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>
              <a:buSzPct val="25000"/>
            </a:pP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53" name="iS1ïdê">
            <a:extLst>
              <a:ext uri="{FF2B5EF4-FFF2-40B4-BE49-F238E27FC236}">
                <a16:creationId xmlns:a16="http://schemas.microsoft.com/office/drawing/2014/main" id="{29F82994-B091-4FDF-BA73-650844EA7A98}"/>
              </a:ext>
            </a:extLst>
          </p:cNvPr>
          <p:cNvSpPr/>
          <p:nvPr/>
        </p:nvSpPr>
        <p:spPr>
          <a:xfrm>
            <a:off x="6133081" y="1853205"/>
            <a:ext cx="514350" cy="5143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/>
          <a:p>
            <a:pPr algn="ctr">
              <a:buSzPct val="25000"/>
            </a:pPr>
            <a:r>
              <a:rPr lang="en-US" altLang="zh-CN" sz="1600" b="1" dirty="0">
                <a:solidFill>
                  <a:schemeClr val="bg1"/>
                </a:solidFill>
              </a:rPr>
              <a:t>03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54" name="îṥḷïďè">
            <a:extLst>
              <a:ext uri="{FF2B5EF4-FFF2-40B4-BE49-F238E27FC236}">
                <a16:creationId xmlns:a16="http://schemas.microsoft.com/office/drawing/2014/main" id="{7C65DC25-8A78-4A3F-801F-0CEF288BB569}"/>
              </a:ext>
            </a:extLst>
          </p:cNvPr>
          <p:cNvSpPr txBox="1"/>
          <p:nvPr/>
        </p:nvSpPr>
        <p:spPr bwMode="auto">
          <a:xfrm>
            <a:off x="5499079" y="1175812"/>
            <a:ext cx="2018740" cy="96919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sz="1600" b="1" dirty="0"/>
              <a:t>功能介绍</a:t>
            </a:r>
            <a:endParaRPr lang="en-US" altLang="zh-CN" sz="1600" b="1" dirty="0"/>
          </a:p>
        </p:txBody>
      </p:sp>
      <p:cxnSp>
        <p:nvCxnSpPr>
          <p:cNvPr id="55" name="直接连接符 54">
            <a:extLst>
              <a:ext uri="{FF2B5EF4-FFF2-40B4-BE49-F238E27FC236}">
                <a16:creationId xmlns:a16="http://schemas.microsoft.com/office/drawing/2014/main" id="{FDAEE11B-F3A1-4F2B-BF46-42C18039049D}"/>
              </a:ext>
            </a:extLst>
          </p:cNvPr>
          <p:cNvCxnSpPr>
            <a:stCxn id="52" idx="0"/>
            <a:endCxn id="53" idx="4"/>
          </p:cNvCxnSpPr>
          <p:nvPr/>
        </p:nvCxnSpPr>
        <p:spPr>
          <a:xfrm flipV="1">
            <a:off x="6390256" y="2367555"/>
            <a:ext cx="0" cy="456435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íṡļíḍe">
            <a:extLst>
              <a:ext uri="{FF2B5EF4-FFF2-40B4-BE49-F238E27FC236}">
                <a16:creationId xmlns:a16="http://schemas.microsoft.com/office/drawing/2014/main" id="{51156AD9-7DCE-485B-967F-54A2387698BC}"/>
              </a:ext>
            </a:extLst>
          </p:cNvPr>
          <p:cNvSpPr/>
          <p:nvPr/>
        </p:nvSpPr>
        <p:spPr>
          <a:xfrm>
            <a:off x="8865739" y="3343277"/>
            <a:ext cx="152398" cy="152398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>
              <a:buSzPct val="25000"/>
            </a:pP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57" name="íšḻîḓe">
            <a:extLst>
              <a:ext uri="{FF2B5EF4-FFF2-40B4-BE49-F238E27FC236}">
                <a16:creationId xmlns:a16="http://schemas.microsoft.com/office/drawing/2014/main" id="{232609EA-E22A-4D0F-942C-A4A16EF86440}"/>
              </a:ext>
            </a:extLst>
          </p:cNvPr>
          <p:cNvSpPr/>
          <p:nvPr/>
        </p:nvSpPr>
        <p:spPr>
          <a:xfrm>
            <a:off x="8684763" y="2372492"/>
            <a:ext cx="514350" cy="5143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/>
          <a:p>
            <a:pPr algn="ctr">
              <a:buSzPct val="25000"/>
            </a:pPr>
            <a:r>
              <a:rPr lang="en-US" altLang="zh-CN" sz="1600" b="1" dirty="0">
                <a:solidFill>
                  <a:schemeClr val="bg1"/>
                </a:solidFill>
              </a:rPr>
              <a:t>05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07116BEF-B976-459D-AB9B-9E726C8B056B}"/>
              </a:ext>
            </a:extLst>
          </p:cNvPr>
          <p:cNvCxnSpPr>
            <a:stCxn id="56" idx="0"/>
            <a:endCxn id="57" idx="4"/>
          </p:cNvCxnSpPr>
          <p:nvPr/>
        </p:nvCxnSpPr>
        <p:spPr>
          <a:xfrm flipV="1">
            <a:off x="8941938" y="2886842"/>
            <a:ext cx="0" cy="456435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ïṧḷïdè">
            <a:extLst>
              <a:ext uri="{FF2B5EF4-FFF2-40B4-BE49-F238E27FC236}">
                <a16:creationId xmlns:a16="http://schemas.microsoft.com/office/drawing/2014/main" id="{F3986BF2-4EF6-4886-B34F-1822AB55CD1E}"/>
              </a:ext>
            </a:extLst>
          </p:cNvPr>
          <p:cNvSpPr/>
          <p:nvPr/>
        </p:nvSpPr>
        <p:spPr>
          <a:xfrm>
            <a:off x="5038216" y="4167362"/>
            <a:ext cx="152398" cy="152398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>
              <a:buSzPct val="25000"/>
            </a:pP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61" name="iSlîḑé">
            <a:extLst>
              <a:ext uri="{FF2B5EF4-FFF2-40B4-BE49-F238E27FC236}">
                <a16:creationId xmlns:a16="http://schemas.microsoft.com/office/drawing/2014/main" id="{C822171E-9889-4C25-9E57-47124A577234}"/>
              </a:ext>
            </a:extLst>
          </p:cNvPr>
          <p:cNvSpPr/>
          <p:nvPr/>
        </p:nvSpPr>
        <p:spPr>
          <a:xfrm>
            <a:off x="4857240" y="4776195"/>
            <a:ext cx="514350" cy="5143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/>
          <a:p>
            <a:pPr algn="ctr">
              <a:buSzPct val="25000"/>
            </a:pPr>
            <a:r>
              <a:rPr lang="en-US" altLang="zh-CN" sz="1600" b="1" dirty="0">
                <a:solidFill>
                  <a:schemeClr val="bg1"/>
                </a:solidFill>
              </a:rPr>
              <a:t>02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62" name="îşľîḋe">
            <a:extLst>
              <a:ext uri="{FF2B5EF4-FFF2-40B4-BE49-F238E27FC236}">
                <a16:creationId xmlns:a16="http://schemas.microsoft.com/office/drawing/2014/main" id="{7A819FBD-71D0-4012-90E5-C2ED0D0ADB51}"/>
              </a:ext>
            </a:extLst>
          </p:cNvPr>
          <p:cNvSpPr txBox="1"/>
          <p:nvPr/>
        </p:nvSpPr>
        <p:spPr bwMode="auto">
          <a:xfrm>
            <a:off x="4555457" y="5290545"/>
            <a:ext cx="1117917" cy="391643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sz="1600" b="1" dirty="0"/>
              <a:t>系统结构</a:t>
            </a:r>
            <a:endParaRPr lang="en-US" altLang="zh-CN" sz="1600" b="1" dirty="0"/>
          </a:p>
        </p:txBody>
      </p: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88FB889A-BD50-49E1-B131-C7FAE9C54EC7}"/>
              </a:ext>
            </a:extLst>
          </p:cNvPr>
          <p:cNvCxnSpPr>
            <a:stCxn id="60" idx="4"/>
            <a:endCxn id="61" idx="0"/>
          </p:cNvCxnSpPr>
          <p:nvPr/>
        </p:nvCxnSpPr>
        <p:spPr>
          <a:xfrm>
            <a:off x="5114415" y="4319760"/>
            <a:ext cx="0" cy="456435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isļïdê">
            <a:extLst>
              <a:ext uri="{FF2B5EF4-FFF2-40B4-BE49-F238E27FC236}">
                <a16:creationId xmlns:a16="http://schemas.microsoft.com/office/drawing/2014/main" id="{188625A4-4AAC-4F34-8A13-B73DEC324C07}"/>
              </a:ext>
            </a:extLst>
          </p:cNvPr>
          <p:cNvSpPr/>
          <p:nvPr/>
        </p:nvSpPr>
        <p:spPr>
          <a:xfrm>
            <a:off x="7409274" y="3399722"/>
            <a:ext cx="152398" cy="152398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>
              <a:buSzPct val="25000"/>
            </a:pP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65" name="íŝľïďe">
            <a:extLst>
              <a:ext uri="{FF2B5EF4-FFF2-40B4-BE49-F238E27FC236}">
                <a16:creationId xmlns:a16="http://schemas.microsoft.com/office/drawing/2014/main" id="{8B061F83-551D-4228-AB23-7EE26620BAE5}"/>
              </a:ext>
            </a:extLst>
          </p:cNvPr>
          <p:cNvSpPr/>
          <p:nvPr/>
        </p:nvSpPr>
        <p:spPr>
          <a:xfrm>
            <a:off x="7228298" y="4008555"/>
            <a:ext cx="514350" cy="51435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7500" lnSpcReduction="20000"/>
          </a:bodyPr>
          <a:lstStyle/>
          <a:p>
            <a:pPr algn="ctr">
              <a:buSzPct val="25000"/>
            </a:pPr>
            <a:r>
              <a:rPr lang="en-US" altLang="zh-CN" sz="1600" b="1" dirty="0">
                <a:solidFill>
                  <a:schemeClr val="bg1"/>
                </a:solidFill>
              </a:rPr>
              <a:t>04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66" name="îšļide">
            <a:extLst>
              <a:ext uri="{FF2B5EF4-FFF2-40B4-BE49-F238E27FC236}">
                <a16:creationId xmlns:a16="http://schemas.microsoft.com/office/drawing/2014/main" id="{3D74365F-DE25-4D11-A981-9E536061F4CC}"/>
              </a:ext>
            </a:extLst>
          </p:cNvPr>
          <p:cNvSpPr txBox="1"/>
          <p:nvPr/>
        </p:nvSpPr>
        <p:spPr bwMode="auto">
          <a:xfrm>
            <a:off x="6926515" y="4522905"/>
            <a:ext cx="1117917" cy="391643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sz="1600" b="1" dirty="0"/>
              <a:t>技术亮点</a:t>
            </a:r>
            <a:endParaRPr lang="en-US" altLang="zh-CN" sz="1600" b="1" dirty="0"/>
          </a:p>
        </p:txBody>
      </p:sp>
      <p:cxnSp>
        <p:nvCxnSpPr>
          <p:cNvPr id="67" name="直接连接符 66">
            <a:extLst>
              <a:ext uri="{FF2B5EF4-FFF2-40B4-BE49-F238E27FC236}">
                <a16:creationId xmlns:a16="http://schemas.microsoft.com/office/drawing/2014/main" id="{E15F21A1-8EF5-40D8-9BA1-E033A4A27F48}"/>
              </a:ext>
            </a:extLst>
          </p:cNvPr>
          <p:cNvCxnSpPr>
            <a:stCxn id="64" idx="4"/>
            <a:endCxn id="65" idx="0"/>
          </p:cNvCxnSpPr>
          <p:nvPr/>
        </p:nvCxnSpPr>
        <p:spPr>
          <a:xfrm>
            <a:off x="7485473" y="3552120"/>
            <a:ext cx="0" cy="456435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îṥḷïďè">
            <a:extLst>
              <a:ext uri="{FF2B5EF4-FFF2-40B4-BE49-F238E27FC236}">
                <a16:creationId xmlns:a16="http://schemas.microsoft.com/office/drawing/2014/main" id="{C06FA9B0-18E1-9EFF-8443-34116EE937A2}"/>
              </a:ext>
            </a:extLst>
          </p:cNvPr>
          <p:cNvSpPr txBox="1"/>
          <p:nvPr/>
        </p:nvSpPr>
        <p:spPr bwMode="auto">
          <a:xfrm>
            <a:off x="7932568" y="1395994"/>
            <a:ext cx="2018740" cy="96919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sz="1600" b="1" dirty="0"/>
              <a:t>项目心得</a:t>
            </a:r>
            <a:endParaRPr lang="en-US" altLang="zh-CN" sz="1600" b="1" dirty="0"/>
          </a:p>
        </p:txBody>
      </p: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人员分工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CN" altLang="en-US" sz="1400" dirty="0"/>
              <a:t>星火燎原、分庭抗礼</a:t>
            </a:r>
            <a:endParaRPr lang="en-US" altLang="zh-CN" sz="14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30633" y="454056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D452D16-FEDD-4934-B4C3-BA9129139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人员分工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AC0CDBC-482D-4F5E-AEBB-D858D4DB29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34E76714-5C75-0158-745D-1A6FD6AA7427}"/>
              </a:ext>
            </a:extLst>
          </p:cNvPr>
          <p:cNvSpPr txBox="1"/>
          <p:nvPr/>
        </p:nvSpPr>
        <p:spPr>
          <a:xfrm>
            <a:off x="669924" y="1250066"/>
            <a:ext cx="10684841" cy="3211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300000"/>
              </a:lnSpc>
            </a:pPr>
            <a:r>
              <a:rPr lang="en-US" altLang="zh-CN" sz="2400" dirty="0" err="1"/>
              <a:t>CausedByEating</a:t>
            </a:r>
            <a:r>
              <a:rPr lang="zh-CN" altLang="en-US" sz="2400" dirty="0"/>
              <a:t>旨在解决吃饭问题，本次实训主要实现了点餐业务线功能</a:t>
            </a:r>
            <a:endParaRPr lang="en-US" altLang="zh-CN" sz="2400" dirty="0"/>
          </a:p>
          <a:p>
            <a:pPr marL="457200" indent="-45720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潘隆财：开发后端接口、编写文档</a:t>
            </a:r>
            <a:endParaRPr lang="en-US" altLang="zh-CN" sz="2400" dirty="0"/>
          </a:p>
          <a:p>
            <a:pPr marL="457200" indent="-45720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王珺戈：开发前端界面</a:t>
            </a:r>
          </a:p>
        </p:txBody>
      </p:sp>
    </p:spTree>
    <p:extLst>
      <p:ext uri="{BB962C8B-B14F-4D97-AF65-F5344CB8AC3E}">
        <p14:creationId xmlns:p14="http://schemas.microsoft.com/office/powerpoint/2010/main" val="25148945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系统结构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CN" altLang="en-US" sz="1400" dirty="0"/>
              <a:t>云龙飞舞、阴阳合一</a:t>
            </a:r>
            <a:endParaRPr lang="en-US" altLang="zh-CN" sz="14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30633" y="454056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92109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DDA10A5-745E-498B-93F6-19EC513C5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系统结构</a:t>
            </a:r>
            <a:r>
              <a:rPr lang="en-US" altLang="zh-CN" dirty="0"/>
              <a:t>-</a:t>
            </a:r>
            <a:r>
              <a:rPr lang="zh-CN" altLang="en-US" sz="2400" dirty="0"/>
              <a:t>后端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C225DC1-C722-4CA1-AF61-C687D18719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2D0062C-045E-DAB9-C4E8-529B258F9C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5494" y="1427001"/>
            <a:ext cx="6205329" cy="4003997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0CF0D38F-75CE-51F2-97B0-4AEE68B6B76A}"/>
              </a:ext>
            </a:extLst>
          </p:cNvPr>
          <p:cNvSpPr txBox="1"/>
          <p:nvPr/>
        </p:nvSpPr>
        <p:spPr>
          <a:xfrm>
            <a:off x="669923" y="1276709"/>
            <a:ext cx="3996967" cy="4613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Controller</a:t>
            </a:r>
            <a:r>
              <a:rPr lang="zh-CN" altLang="en-US" dirty="0"/>
              <a:t>：接收前端请求，并响应数据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Service</a:t>
            </a:r>
            <a:r>
              <a:rPr lang="zh-CN" altLang="en-US" dirty="0"/>
              <a:t>：处理业务逻辑，操控</a:t>
            </a:r>
            <a:r>
              <a:rPr lang="en-US" altLang="zh-CN" dirty="0"/>
              <a:t>Mapper</a:t>
            </a:r>
            <a:r>
              <a:rPr lang="zh-CN" altLang="en-US" dirty="0"/>
              <a:t>层，并且为</a:t>
            </a:r>
            <a:r>
              <a:rPr lang="en-US" altLang="zh-CN" dirty="0"/>
              <a:t>Controller</a:t>
            </a:r>
            <a:r>
              <a:rPr lang="zh-CN" altLang="en-US" dirty="0"/>
              <a:t>响应数据提供依据</a:t>
            </a: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>
              <a:lnSpc>
                <a:spcPct val="150000"/>
              </a:lnSpc>
            </a:pP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Mapper</a:t>
            </a:r>
            <a:r>
              <a:rPr lang="zh-CN" altLang="en-US" dirty="0"/>
              <a:t>：操作数据库，为</a:t>
            </a:r>
            <a:r>
              <a:rPr lang="en-US" altLang="zh-CN" dirty="0"/>
              <a:t>Service</a:t>
            </a:r>
            <a:r>
              <a:rPr lang="zh-CN" altLang="en-US" dirty="0"/>
              <a:t>处理业务提供必要支撑</a:t>
            </a:r>
          </a:p>
        </p:txBody>
      </p:sp>
    </p:spTree>
    <p:extLst>
      <p:ext uri="{BB962C8B-B14F-4D97-AF65-F5344CB8AC3E}">
        <p14:creationId xmlns:p14="http://schemas.microsoft.com/office/powerpoint/2010/main" val="5506119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DDA10A5-745E-498B-93F6-19EC513C5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系统结构</a:t>
            </a:r>
            <a:r>
              <a:rPr lang="en-US" altLang="zh-CN" dirty="0"/>
              <a:t>-</a:t>
            </a:r>
            <a:r>
              <a:rPr lang="zh-CN" altLang="en-US" sz="2400" dirty="0"/>
              <a:t>前端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C225DC1-C722-4CA1-AF61-C687D18719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83525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功能介绍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zh-CN" altLang="en-US" sz="1400" dirty="0"/>
              <a:t>神兵天降、灵犀一点</a:t>
            </a:r>
            <a:endParaRPr lang="en-US" altLang="zh-CN" sz="14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30633" y="454056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13684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D2B31D5-A210-4C70-8DBC-F98477477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功能介绍</a:t>
            </a:r>
            <a:r>
              <a:rPr lang="en-US" altLang="zh-CN" dirty="0"/>
              <a:t>-</a:t>
            </a:r>
            <a:r>
              <a:rPr lang="zh-CN" altLang="en-US" sz="2400" dirty="0"/>
              <a:t>整体功能介绍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0F96DEE-9F83-42AB-9A6E-6CB7444942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C0A8485-5DE9-2EAD-F47D-65FF69DECD1F}"/>
              </a:ext>
            </a:extLst>
          </p:cNvPr>
          <p:cNvSpPr txBox="1"/>
          <p:nvPr/>
        </p:nvSpPr>
        <p:spPr>
          <a:xfrm>
            <a:off x="767751" y="1224951"/>
            <a:ext cx="10187796" cy="45386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l"/>
            </a:pPr>
            <a:r>
              <a:rPr lang="zh-CN" altLang="en-US" sz="2000" dirty="0"/>
              <a:t>用户模块：登陆注册，修改用户信息</a:t>
            </a:r>
            <a:endParaRPr lang="en-US" altLang="zh-CN" sz="2000" dirty="0"/>
          </a:p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l"/>
            </a:pPr>
            <a:r>
              <a:rPr lang="zh-CN" altLang="en-US" sz="2000" dirty="0"/>
              <a:t>收货地址模块：对收货地址的增删改</a:t>
            </a:r>
            <a:endParaRPr lang="en-US" altLang="zh-CN" sz="2000" dirty="0"/>
          </a:p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l"/>
            </a:pPr>
            <a:r>
              <a:rPr lang="zh-CN" altLang="en-US" sz="2000" dirty="0"/>
              <a:t>商家与食物模块：获取商家列表与商家中的食物列表</a:t>
            </a:r>
            <a:endParaRPr lang="en-US" altLang="zh-CN" sz="2000" dirty="0"/>
          </a:p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l"/>
            </a:pPr>
            <a:r>
              <a:rPr lang="zh-CN" altLang="en-US" sz="2000" dirty="0"/>
              <a:t>购物车模块：对购物车的增删改</a:t>
            </a:r>
            <a:endParaRPr lang="en-US" altLang="zh-CN" sz="2000" dirty="0"/>
          </a:p>
          <a:p>
            <a:pPr marL="285750" indent="-285750">
              <a:lnSpc>
                <a:spcPct val="300000"/>
              </a:lnSpc>
              <a:buFont typeface="Wingdings" panose="05000000000000000000" pitchFamily="2" charset="2"/>
              <a:buChar char="l"/>
            </a:pPr>
            <a:r>
              <a:rPr lang="zh-CN" altLang="en-US" sz="2000" dirty="0"/>
              <a:t>订单模块：对订单的增加与修改</a:t>
            </a:r>
          </a:p>
        </p:txBody>
      </p:sp>
    </p:spTree>
    <p:extLst>
      <p:ext uri="{BB962C8B-B14F-4D97-AF65-F5344CB8AC3E}">
        <p14:creationId xmlns:p14="http://schemas.microsoft.com/office/powerpoint/2010/main" val="40831383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c9abae0c-62b9-4204-812a-479be95a1ed7"/>
</p:tagLst>
</file>

<file path=ppt/theme/theme1.xml><?xml version="1.0" encoding="utf-8"?>
<a:theme xmlns:a="http://schemas.openxmlformats.org/drawingml/2006/main" name="主题5">
  <a:themeElements>
    <a:clrScheme name="00000000000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30157"/>
      </a:accent1>
      <a:accent2>
        <a:srgbClr val="141268"/>
      </a:accent2>
      <a:accent3>
        <a:srgbClr val="5066A1"/>
      </a:accent3>
      <a:accent4>
        <a:srgbClr val="F47949"/>
      </a:accent4>
      <a:accent5>
        <a:srgbClr val="9A33EF"/>
      </a:accent5>
      <a:accent6>
        <a:srgbClr val="768394"/>
      </a:accent6>
      <a:hlink>
        <a:srgbClr val="D1DEEB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00000000000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41268"/>
    </a:accent2>
    <a:accent3>
      <a:srgbClr val="5066A1"/>
    </a:accent3>
    <a:accent4>
      <a:srgbClr val="F47949"/>
    </a:accent4>
    <a:accent5>
      <a:srgbClr val="9A33EF"/>
    </a:accent5>
    <a:accent6>
      <a:srgbClr val="768394"/>
    </a:accent6>
    <a:hlink>
      <a:srgbClr val="D1DEEB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00000000000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41268"/>
    </a:accent2>
    <a:accent3>
      <a:srgbClr val="5066A1"/>
    </a:accent3>
    <a:accent4>
      <a:srgbClr val="F47949"/>
    </a:accent4>
    <a:accent5>
      <a:srgbClr val="9A33EF"/>
    </a:accent5>
    <a:accent6>
      <a:srgbClr val="768394"/>
    </a:accent6>
    <a:hlink>
      <a:srgbClr val="D1DEEB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00000000000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41268"/>
    </a:accent2>
    <a:accent3>
      <a:srgbClr val="5066A1"/>
    </a:accent3>
    <a:accent4>
      <a:srgbClr val="F47949"/>
    </a:accent4>
    <a:accent5>
      <a:srgbClr val="9A33EF"/>
    </a:accent5>
    <a:accent6>
      <a:srgbClr val="768394"/>
    </a:accent6>
    <a:hlink>
      <a:srgbClr val="D1DEEB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00000000000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41268"/>
    </a:accent2>
    <a:accent3>
      <a:srgbClr val="5066A1"/>
    </a:accent3>
    <a:accent4>
      <a:srgbClr val="F47949"/>
    </a:accent4>
    <a:accent5>
      <a:srgbClr val="9A33EF"/>
    </a:accent5>
    <a:accent6>
      <a:srgbClr val="768394"/>
    </a:accent6>
    <a:hlink>
      <a:srgbClr val="D1DEEB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00000000000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41268"/>
    </a:accent2>
    <a:accent3>
      <a:srgbClr val="5066A1"/>
    </a:accent3>
    <a:accent4>
      <a:srgbClr val="F47949"/>
    </a:accent4>
    <a:accent5>
      <a:srgbClr val="9A33EF"/>
    </a:accent5>
    <a:accent6>
      <a:srgbClr val="768394"/>
    </a:accent6>
    <a:hlink>
      <a:srgbClr val="D1DEEB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00000000000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41268"/>
    </a:accent2>
    <a:accent3>
      <a:srgbClr val="5066A1"/>
    </a:accent3>
    <a:accent4>
      <a:srgbClr val="F47949"/>
    </a:accent4>
    <a:accent5>
      <a:srgbClr val="9A33EF"/>
    </a:accent5>
    <a:accent6>
      <a:srgbClr val="768394"/>
    </a:accent6>
    <a:hlink>
      <a:srgbClr val="D1DEEB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00000000000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41268"/>
    </a:accent2>
    <a:accent3>
      <a:srgbClr val="5066A1"/>
    </a:accent3>
    <a:accent4>
      <a:srgbClr val="F47949"/>
    </a:accent4>
    <a:accent5>
      <a:srgbClr val="9A33EF"/>
    </a:accent5>
    <a:accent6>
      <a:srgbClr val="768394"/>
    </a:accent6>
    <a:hlink>
      <a:srgbClr val="D1DEEB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00000000000">
    <a:dk1>
      <a:srgbClr val="000000"/>
    </a:dk1>
    <a:lt1>
      <a:srgbClr val="FFFFFF"/>
    </a:lt1>
    <a:dk2>
      <a:srgbClr val="768394"/>
    </a:dk2>
    <a:lt2>
      <a:srgbClr val="F0F0F0"/>
    </a:lt2>
    <a:accent1>
      <a:srgbClr val="030157"/>
    </a:accent1>
    <a:accent2>
      <a:srgbClr val="141268"/>
    </a:accent2>
    <a:accent3>
      <a:srgbClr val="5066A1"/>
    </a:accent3>
    <a:accent4>
      <a:srgbClr val="F47949"/>
    </a:accent4>
    <a:accent5>
      <a:srgbClr val="9A33EF"/>
    </a:accent5>
    <a:accent6>
      <a:srgbClr val="768394"/>
    </a:accent6>
    <a:hlink>
      <a:srgbClr val="D1DEEB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Lanthe</Template>
  <TotalTime>347</TotalTime>
  <Words>374</Words>
  <Application>Microsoft Office PowerPoint</Application>
  <PresentationFormat>宽屏</PresentationFormat>
  <Paragraphs>80</Paragraphs>
  <Slides>16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23" baseType="lpstr">
      <vt:lpstr>等线</vt:lpstr>
      <vt:lpstr>Arial</vt:lpstr>
      <vt:lpstr>Calibri</vt:lpstr>
      <vt:lpstr>Impact</vt:lpstr>
      <vt:lpstr>Wingdings</vt:lpstr>
      <vt:lpstr>主题5</vt:lpstr>
      <vt:lpstr>think-cell Slide</vt:lpstr>
      <vt:lpstr>PowerPoint 演示文稿</vt:lpstr>
      <vt:lpstr>PowerPoint 演示文稿</vt:lpstr>
      <vt:lpstr>人员分工</vt:lpstr>
      <vt:lpstr>人员分工</vt:lpstr>
      <vt:lpstr>系统结构</vt:lpstr>
      <vt:lpstr>系统结构-后端</vt:lpstr>
      <vt:lpstr>系统结构-前端</vt:lpstr>
      <vt:lpstr>功能介绍</vt:lpstr>
      <vt:lpstr>功能介绍-整体功能介绍</vt:lpstr>
      <vt:lpstr>功能介绍-核心界面展示</vt:lpstr>
      <vt:lpstr>技术亮点</vt:lpstr>
      <vt:lpstr>技术亮点-后端</vt:lpstr>
      <vt:lpstr>技术亮点-前端</vt:lpstr>
      <vt:lpstr>项目心得</vt:lpstr>
      <vt:lpstr>项目心得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极简艺术范个人工作总结报告PPT模板</dc:title>
  <dc:creator>Lanthe</dc:creator>
  <cp:keywords>51PPT模板网（www.51pptmoban.com）</cp:keywords>
  <dc:description>51PPT模板网，幻灯片演示模板及素材免费下载！_x000d_
51PPT模板网 唯一访问网址：www.51pptmoban.com</dc:description>
  <cp:lastModifiedBy>Bala WuWu</cp:lastModifiedBy>
  <cp:revision>12</cp:revision>
  <cp:lastPrinted>2020-04-02T16:00:00Z</cp:lastPrinted>
  <dcterms:created xsi:type="dcterms:W3CDTF">2020-04-02T16:00:00Z</dcterms:created>
  <dcterms:modified xsi:type="dcterms:W3CDTF">2024-07-03T07:59:51Z</dcterms:modified>
  <cp:contentStatus>极简艺术范个人工作总结报告PPT模板，www.51pptmoban.com</cp:contentStatus>
  <cp:version>51pptmoban.com（V51PPT-24061601版）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